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90"/>
  </p:notesMasterIdLst>
  <p:sldIdLst>
    <p:sldId id="2134805620" r:id="rId2"/>
    <p:sldId id="2134806402" r:id="rId3"/>
    <p:sldId id="2134806403" r:id="rId4"/>
    <p:sldId id="2134806404" r:id="rId5"/>
    <p:sldId id="2134806405" r:id="rId6"/>
    <p:sldId id="2134806406" r:id="rId7"/>
    <p:sldId id="2134806407" r:id="rId8"/>
    <p:sldId id="2134806400" r:id="rId9"/>
    <p:sldId id="2134806408" r:id="rId10"/>
    <p:sldId id="2134806409" r:id="rId11"/>
    <p:sldId id="2134806410" r:id="rId12"/>
    <p:sldId id="2134806181" r:id="rId13"/>
    <p:sldId id="2134806411" r:id="rId14"/>
    <p:sldId id="2134806412" r:id="rId15"/>
    <p:sldId id="2134806413" r:id="rId16"/>
    <p:sldId id="2134806414" r:id="rId17"/>
    <p:sldId id="2134806415" r:id="rId18"/>
    <p:sldId id="2134806416" r:id="rId19"/>
    <p:sldId id="2134806417" r:id="rId20"/>
    <p:sldId id="2134806418" r:id="rId21"/>
    <p:sldId id="2134806419" r:id="rId22"/>
    <p:sldId id="2134806420" r:id="rId23"/>
    <p:sldId id="2134806421" r:id="rId24"/>
    <p:sldId id="2134806422" r:id="rId25"/>
    <p:sldId id="2134806423" r:id="rId26"/>
    <p:sldId id="2134806424" r:id="rId27"/>
    <p:sldId id="2134806425" r:id="rId28"/>
    <p:sldId id="2134806426" r:id="rId29"/>
    <p:sldId id="2134806427" r:id="rId30"/>
    <p:sldId id="2134806428" r:id="rId31"/>
    <p:sldId id="2134806429" r:id="rId32"/>
    <p:sldId id="2134806430" r:id="rId33"/>
    <p:sldId id="2134806431" r:id="rId34"/>
    <p:sldId id="2134806432" r:id="rId35"/>
    <p:sldId id="2134806433" r:id="rId36"/>
    <p:sldId id="2134806434" r:id="rId37"/>
    <p:sldId id="2134806435" r:id="rId38"/>
    <p:sldId id="2134806436" r:id="rId39"/>
    <p:sldId id="2134806437" r:id="rId40"/>
    <p:sldId id="2134806438" r:id="rId41"/>
    <p:sldId id="2134806439" r:id="rId42"/>
    <p:sldId id="2134806440" r:id="rId43"/>
    <p:sldId id="2134806441" r:id="rId44"/>
    <p:sldId id="2134806442" r:id="rId45"/>
    <p:sldId id="2134806443" r:id="rId46"/>
    <p:sldId id="2134806444" r:id="rId47"/>
    <p:sldId id="2134806448" r:id="rId48"/>
    <p:sldId id="2134806449" r:id="rId49"/>
    <p:sldId id="2134806450" r:id="rId50"/>
    <p:sldId id="2134806445" r:id="rId51"/>
    <p:sldId id="2134806446" r:id="rId52"/>
    <p:sldId id="2134806447" r:id="rId53"/>
    <p:sldId id="2134806452" r:id="rId54"/>
    <p:sldId id="2134805944" r:id="rId55"/>
    <p:sldId id="2134806453" r:id="rId56"/>
    <p:sldId id="2134806454" r:id="rId57"/>
    <p:sldId id="2134806455" r:id="rId58"/>
    <p:sldId id="2134806457" r:id="rId59"/>
    <p:sldId id="2134806458" r:id="rId60"/>
    <p:sldId id="2134806459" r:id="rId61"/>
    <p:sldId id="2134806460" r:id="rId62"/>
    <p:sldId id="2134806461" r:id="rId63"/>
    <p:sldId id="2134806462" r:id="rId64"/>
    <p:sldId id="2134806463" r:id="rId65"/>
    <p:sldId id="2134806477" r:id="rId66"/>
    <p:sldId id="2134806478" r:id="rId67"/>
    <p:sldId id="2134806479" r:id="rId68"/>
    <p:sldId id="2134806480" r:id="rId69"/>
    <p:sldId id="2134806481" r:id="rId70"/>
    <p:sldId id="2134806482" r:id="rId71"/>
    <p:sldId id="2134806476" r:id="rId72"/>
    <p:sldId id="2134806483" r:id="rId73"/>
    <p:sldId id="2134806484" r:id="rId74"/>
    <p:sldId id="2134806485" r:id="rId75"/>
    <p:sldId id="2134806486" r:id="rId76"/>
    <p:sldId id="2134806487" r:id="rId77"/>
    <p:sldId id="2134806488" r:id="rId78"/>
    <p:sldId id="2134805631" r:id="rId79"/>
    <p:sldId id="2134806475" r:id="rId80"/>
    <p:sldId id="2134806489" r:id="rId81"/>
    <p:sldId id="2134806490" r:id="rId82"/>
    <p:sldId id="2134806491" r:id="rId83"/>
    <p:sldId id="2134806492" r:id="rId84"/>
    <p:sldId id="2134806493" r:id="rId85"/>
    <p:sldId id="2134805640" r:id="rId86"/>
    <p:sldId id="2134806494" r:id="rId87"/>
    <p:sldId id="2134806495" r:id="rId88"/>
    <p:sldId id="2134806496" r:id="rId8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64" d="100"/>
          <a:sy n="64" d="100"/>
        </p:scale>
        <p:origin x="159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notesMaster" Target="notesMasters/notesMaster1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viewProps" Target="viewProp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M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C2F6EA-2943-4A15-A9FB-D4A77DB509D7}" type="datetimeFigureOut">
              <a:rPr lang="fr-MA" smtClean="0"/>
              <a:t>09/11/2024</a:t>
            </a:fld>
            <a:endParaRPr lang="fr-M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M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M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M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580728-7F02-44CF-B57E-CA6F2E760783}" type="slidenum">
              <a:rPr lang="fr-MA" smtClean="0"/>
              <a:t>‹N°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48988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AE87F-B08A-4342-80EC-80A3A2B8D41A}" type="slidenum">
              <a:rPr kumimoji="0" lang="fr-M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M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4108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09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24078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09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4427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09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6293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09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02650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09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76532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09/11/202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969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09/11/2024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06522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09/11/2024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79777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09/11/2024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4252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09/11/202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75066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09/11/202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1431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B3373A-7926-40BB-B6DF-EC289891A864}" type="datetimeFigureOut">
              <a:rPr lang="fr-FR" smtClean="0"/>
              <a:t>09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79447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29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svg"/><Relationship Id="rId5" Type="http://schemas.openxmlformats.org/officeDocument/2006/relationships/image" Target="../media/image5.png"/><Relationship Id="rId4" Type="http://schemas.openxmlformats.org/officeDocument/2006/relationships/image" Target="../media/image19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27.jpg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27.jpg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27.jpg"/><Relationship Id="rId5" Type="http://schemas.openxmlformats.org/officeDocument/2006/relationships/image" Target="../media/image31.png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27.jp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jpe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5" Type="http://schemas.openxmlformats.org/officeDocument/2006/relationships/image" Target="../media/image27.jp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10" Type="http://schemas.openxmlformats.org/officeDocument/2006/relationships/image" Target="../media/image14.png"/><Relationship Id="rId4" Type="http://schemas.openxmlformats.org/officeDocument/2006/relationships/image" Target="../media/image8.emf"/><Relationship Id="rId9" Type="http://schemas.openxmlformats.org/officeDocument/2006/relationships/image" Target="../media/image1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27.jp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27.jp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27.jpg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jpeg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27.jpg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6" Type="http://schemas.openxmlformats.org/officeDocument/2006/relationships/image" Target="../media/image27.jp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6" Type="http://schemas.openxmlformats.org/officeDocument/2006/relationships/image" Target="../media/image27.jp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27.jp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5" Type="http://schemas.openxmlformats.org/officeDocument/2006/relationships/image" Target="../media/image27.jpg"/><Relationship Id="rId4" Type="http://schemas.openxmlformats.org/officeDocument/2006/relationships/image" Target="../media/image3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jpeg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15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11.svg"/><Relationship Id="rId2" Type="http://schemas.openxmlformats.org/officeDocument/2006/relationships/tags" Target="../tags/tag3.xml"/><Relationship Id="rId16" Type="http://schemas.openxmlformats.org/officeDocument/2006/relationships/image" Target="../media/image18.jpe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0.png"/><Relationship Id="rId5" Type="http://schemas.openxmlformats.org/officeDocument/2006/relationships/tags" Target="../tags/tag6.xml"/><Relationship Id="rId15" Type="http://schemas.openxmlformats.org/officeDocument/2006/relationships/image" Target="../media/image17.png"/><Relationship Id="rId10" Type="http://schemas.openxmlformats.org/officeDocument/2006/relationships/image" Target="../media/image9.jpeg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4" Type="http://schemas.openxmlformats.org/officeDocument/2006/relationships/image" Target="../media/image27.jp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5" Type="http://schemas.openxmlformats.org/officeDocument/2006/relationships/image" Target="../media/image27.jpg"/><Relationship Id="rId4" Type="http://schemas.openxmlformats.org/officeDocument/2006/relationships/image" Target="../media/image4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5" Type="http://schemas.openxmlformats.org/officeDocument/2006/relationships/image" Target="../media/image27.jpg"/><Relationship Id="rId4" Type="http://schemas.openxmlformats.org/officeDocument/2006/relationships/image" Target="../media/image4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5" Type="http://schemas.openxmlformats.org/officeDocument/2006/relationships/image" Target="../media/image27.jpg"/><Relationship Id="rId4" Type="http://schemas.openxmlformats.org/officeDocument/2006/relationships/image" Target="../media/image4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5" Type="http://schemas.openxmlformats.org/officeDocument/2006/relationships/image" Target="../media/image27.jpg"/><Relationship Id="rId4" Type="http://schemas.openxmlformats.org/officeDocument/2006/relationships/image" Target="../media/image4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4" Type="http://schemas.openxmlformats.org/officeDocument/2006/relationships/image" Target="../media/image27.jp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4" Type="http://schemas.openxmlformats.org/officeDocument/2006/relationships/image" Target="../media/image27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5" Type="http://schemas.openxmlformats.org/officeDocument/2006/relationships/image" Target="../media/image27.jpg"/><Relationship Id="rId4" Type="http://schemas.openxmlformats.org/officeDocument/2006/relationships/image" Target="../media/image4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5.xml"/><Relationship Id="rId5" Type="http://schemas.openxmlformats.org/officeDocument/2006/relationships/image" Target="../media/image27.jpg"/><Relationship Id="rId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svg"/><Relationship Id="rId5" Type="http://schemas.openxmlformats.org/officeDocument/2006/relationships/image" Target="../media/image5.png"/><Relationship Id="rId4" Type="http://schemas.openxmlformats.org/officeDocument/2006/relationships/image" Target="../media/image19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.xml"/><Relationship Id="rId5" Type="http://schemas.openxmlformats.org/officeDocument/2006/relationships/image" Target="../media/image27.jpg"/><Relationship Id="rId4" Type="http://schemas.openxmlformats.org/officeDocument/2006/relationships/image" Target="../media/image4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7.xml"/><Relationship Id="rId5" Type="http://schemas.openxmlformats.org/officeDocument/2006/relationships/image" Target="../media/image27.jpg"/><Relationship Id="rId4" Type="http://schemas.openxmlformats.org/officeDocument/2006/relationships/image" Target="../media/image4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8.xml"/><Relationship Id="rId5" Type="http://schemas.openxmlformats.org/officeDocument/2006/relationships/image" Target="../media/image27.jpg"/><Relationship Id="rId4" Type="http://schemas.openxmlformats.org/officeDocument/2006/relationships/image" Target="../media/image4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4" Type="http://schemas.openxmlformats.org/officeDocument/2006/relationships/image" Target="../media/image27.jp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8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24.jp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3.xml"/><Relationship Id="rId5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4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5.xml"/><Relationship Id="rId5" Type="http://schemas.openxmlformats.org/officeDocument/2006/relationships/image" Target="../media/image50.png"/><Relationship Id="rId4" Type="http://schemas.openxmlformats.org/officeDocument/2006/relationships/image" Target="../media/image5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10" Type="http://schemas.openxmlformats.org/officeDocument/2006/relationships/oleObject" Target="../embeddings/oleObject3.bin"/><Relationship Id="rId4" Type="http://schemas.openxmlformats.org/officeDocument/2006/relationships/oleObject" Target="../embeddings/oleObject2.bin"/><Relationship Id="rId9" Type="http://schemas.openxmlformats.org/officeDocument/2006/relationships/image" Target="../media/image22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5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7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58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svg"/><Relationship Id="rId5" Type="http://schemas.openxmlformats.org/officeDocument/2006/relationships/image" Target="../media/image5.png"/><Relationship Id="rId4" Type="http://schemas.openxmlformats.org/officeDocument/2006/relationships/image" Target="../media/image19.sv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6.xml"/><Relationship Id="rId5" Type="http://schemas.openxmlformats.org/officeDocument/2006/relationships/image" Target="../media/image50.png"/><Relationship Id="rId4" Type="http://schemas.openxmlformats.org/officeDocument/2006/relationships/image" Target="../media/image28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7.xml"/><Relationship Id="rId5" Type="http://schemas.openxmlformats.org/officeDocument/2006/relationships/image" Target="../media/image50.png"/><Relationship Id="rId4" Type="http://schemas.openxmlformats.org/officeDocument/2006/relationships/image" Target="../media/image28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7" Type="http://schemas.microsoft.com/office/2007/relationships/hdphoto" Target="../media/hdphoto2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Relationship Id="rId6" Type="http://schemas.openxmlformats.org/officeDocument/2006/relationships/image" Target="../media/image59.png"/><Relationship Id="rId5" Type="http://schemas.openxmlformats.org/officeDocument/2006/relationships/image" Target="../media/image50.png"/><Relationship Id="rId4" Type="http://schemas.openxmlformats.org/officeDocument/2006/relationships/image" Target="../media/image28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Relationship Id="rId5" Type="http://schemas.openxmlformats.org/officeDocument/2006/relationships/image" Target="../media/image60.png"/><Relationship Id="rId4" Type="http://schemas.openxmlformats.org/officeDocument/2006/relationships/image" Target="../media/image50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3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2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7" Type="http://schemas.openxmlformats.org/officeDocument/2006/relationships/image" Target="../media/image64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61.png"/><Relationship Id="rId7" Type="http://schemas.openxmlformats.org/officeDocument/2006/relationships/image" Target="../media/image64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5.png"/><Relationship Id="rId4" Type="http://schemas.microsoft.com/office/2007/relationships/hdphoto" Target="../media/hdphoto1.wdp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7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54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svg"/><Relationship Id="rId5" Type="http://schemas.openxmlformats.org/officeDocument/2006/relationships/image" Target="../media/image5.png"/><Relationship Id="rId4" Type="http://schemas.openxmlformats.org/officeDocument/2006/relationships/image" Target="../media/image19.sv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7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54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7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6" Type="http://schemas.openxmlformats.org/officeDocument/2006/relationships/image" Target="../media/image3.png"/><Relationship Id="rId5" Type="http://schemas.openxmlformats.org/officeDocument/2006/relationships/image" Target="../media/image9.jpeg"/><Relationship Id="rId10" Type="http://schemas.openxmlformats.org/officeDocument/2006/relationships/image" Target="../media/image14.png"/><Relationship Id="rId4" Type="http://schemas.openxmlformats.org/officeDocument/2006/relationships/image" Target="../media/image8.emf"/><Relationship Id="rId9" Type="http://schemas.openxmlformats.org/officeDocument/2006/relationships/image" Target="../media/image20.sv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5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jpe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54.png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32.jpeg"/><Relationship Id="rId7" Type="http://schemas.openxmlformats.org/officeDocument/2006/relationships/image" Target="../media/image72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54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4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svg"/><Relationship Id="rId5" Type="http://schemas.openxmlformats.org/officeDocument/2006/relationships/image" Target="../media/image5.png"/><Relationship Id="rId4" Type="http://schemas.openxmlformats.org/officeDocument/2006/relationships/image" Target="../media/image19.sv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7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27.jpg"/><Relationship Id="rId4" Type="http://schemas.openxmlformats.org/officeDocument/2006/relationships/image" Target="../media/image2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7">
            <a:extLst>
              <a:ext uri="{FF2B5EF4-FFF2-40B4-BE49-F238E27FC236}">
                <a16:creationId xmlns:a16="http://schemas.microsoft.com/office/drawing/2014/main" id="{8CB2B29E-1F2E-8276-4837-F1DA3E2CE711}"/>
              </a:ext>
            </a:extLst>
          </p:cNvPr>
          <p:cNvSpPr/>
          <p:nvPr/>
        </p:nvSpPr>
        <p:spPr>
          <a:xfrm>
            <a:off x="6971239" y="1201614"/>
            <a:ext cx="1488271" cy="158825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609630">
              <a:defRPr/>
            </a:pPr>
            <a:endParaRPr lang="fr-MA" sz="9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Freeform 2"/>
          <p:cNvSpPr/>
          <p:nvPr/>
        </p:nvSpPr>
        <p:spPr>
          <a:xfrm>
            <a:off x="0" y="5198816"/>
            <a:ext cx="1342175" cy="1663803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>
              <a:defRPr/>
            </a:pPr>
            <a:endParaRPr lang="fr-MA" sz="9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reeform 4"/>
          <p:cNvSpPr/>
          <p:nvPr/>
        </p:nvSpPr>
        <p:spPr>
          <a:xfrm>
            <a:off x="7365784" y="5005471"/>
            <a:ext cx="1778216" cy="1877929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6796058" y="1671862"/>
            <a:ext cx="1838633" cy="436017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3426"/>
              </a:lnSpc>
              <a:defRPr/>
            </a:pPr>
            <a:r>
              <a:rPr lang="ar-MA" sz="3200" b="1" kern="0" dirty="0">
                <a:solidFill>
                  <a:srgbClr val="4BACC6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مستوى</a:t>
            </a:r>
            <a:endParaRPr lang="en-US" sz="3200" b="1" kern="0" dirty="0">
              <a:solidFill>
                <a:srgbClr val="4BACC6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0BC63D7-3460-ED8E-6790-47C68BC4E22B}"/>
              </a:ext>
            </a:extLst>
          </p:cNvPr>
          <p:cNvSpPr txBox="1"/>
          <p:nvPr/>
        </p:nvSpPr>
        <p:spPr>
          <a:xfrm>
            <a:off x="7264400" y="2102247"/>
            <a:ext cx="9144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630">
              <a:defRPr/>
            </a:pPr>
            <a:r>
              <a:rPr lang="en-GB" sz="3600" b="1" dirty="0">
                <a:solidFill>
                  <a:srgbClr val="FCBF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fr-MA" sz="3600" b="1" dirty="0">
              <a:solidFill>
                <a:srgbClr val="FCBF1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C7D7DD4C-7B77-183D-F3D6-F7060A8F6D60}"/>
              </a:ext>
            </a:extLst>
          </p:cNvPr>
          <p:cNvSpPr/>
          <p:nvPr/>
        </p:nvSpPr>
        <p:spPr>
          <a:xfrm>
            <a:off x="3347404" y="4964019"/>
            <a:ext cx="2449192" cy="644453"/>
          </a:xfrm>
          <a:prstGeom prst="roundRect">
            <a:avLst>
              <a:gd name="adj" fmla="val 32324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>
              <a:defRPr/>
            </a:pPr>
            <a:endParaRPr lang="fr-MA" sz="9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45B0A1E8-F2BA-31DC-A793-BDED4E478A5A}"/>
              </a:ext>
            </a:extLst>
          </p:cNvPr>
          <p:cNvSpPr txBox="1"/>
          <p:nvPr/>
        </p:nvSpPr>
        <p:spPr>
          <a:xfrm>
            <a:off x="2250948" y="5073967"/>
            <a:ext cx="4642105" cy="410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 rtl="1">
              <a:defRPr/>
            </a:pPr>
            <a:r>
              <a:rPr lang="ar-MA" sz="2667" b="1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مرحلة 1</a:t>
            </a:r>
            <a:endParaRPr lang="fr-MA" sz="2667" b="1" kern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50" name="Picture 2" descr="الصفحة الرئيسية">
            <a:extLst>
              <a:ext uri="{FF2B5EF4-FFF2-40B4-BE49-F238E27FC236}">
                <a16:creationId xmlns:a16="http://schemas.microsoft.com/office/drawing/2014/main" id="{6639833F-3EB5-41FA-6625-3CC8E815B4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3953" y="270881"/>
            <a:ext cx="4642105" cy="703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3">
            <a:extLst>
              <a:ext uri="{FF2B5EF4-FFF2-40B4-BE49-F238E27FC236}">
                <a16:creationId xmlns:a16="http://schemas.microsoft.com/office/drawing/2014/main" id="{B496C20E-A4D5-ECF0-CE17-C1657F5D0827}"/>
              </a:ext>
            </a:extLst>
          </p:cNvPr>
          <p:cNvSpPr txBox="1"/>
          <p:nvPr/>
        </p:nvSpPr>
        <p:spPr>
          <a:xfrm>
            <a:off x="2250948" y="2643828"/>
            <a:ext cx="4642105" cy="6987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5246"/>
              </a:lnSpc>
              <a:defRPr/>
            </a:pPr>
            <a:r>
              <a:rPr lang="ar-MA" sz="5867" b="1" kern="0" dirty="0">
                <a:solidFill>
                  <a:srgbClr val="4BACC6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رياضيات</a:t>
            </a:r>
            <a:endParaRPr lang="en-US" sz="5867" b="1" kern="0" dirty="0">
              <a:solidFill>
                <a:srgbClr val="4BACC6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ZoneTexte 4">
            <a:extLst>
              <a:ext uri="{FF2B5EF4-FFF2-40B4-BE49-F238E27FC236}">
                <a16:creationId xmlns:a16="http://schemas.microsoft.com/office/drawing/2014/main" id="{354B17B4-09FA-4F91-64F9-F9FCFC22C266}"/>
              </a:ext>
            </a:extLst>
          </p:cNvPr>
          <p:cNvSpPr txBox="1"/>
          <p:nvPr/>
        </p:nvSpPr>
        <p:spPr>
          <a:xfrm>
            <a:off x="2560321" y="6092366"/>
            <a:ext cx="402335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630">
              <a:defRPr/>
            </a:pPr>
            <a:r>
              <a:rPr lang="ar-MA" sz="1333" b="1" kern="0" dirty="0">
                <a:solidFill>
                  <a:srgbClr val="1F49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سخة تجريبية موجهة لمؤسسات الريادة</a:t>
            </a:r>
          </a:p>
          <a:p>
            <a:pPr algn="ctr" defTabSz="609630">
              <a:defRPr/>
            </a:pPr>
            <a:r>
              <a:rPr lang="ar-MA" sz="1333" b="1" kern="0" dirty="0">
                <a:solidFill>
                  <a:srgbClr val="1F49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سخة قيد التطوير</a:t>
            </a: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4AE25B26-34DC-5EA0-A92C-85A13952DA61}"/>
              </a:ext>
            </a:extLst>
          </p:cNvPr>
          <p:cNvSpPr txBox="1"/>
          <p:nvPr/>
        </p:nvSpPr>
        <p:spPr>
          <a:xfrm>
            <a:off x="482601" y="3910235"/>
            <a:ext cx="8178799" cy="417294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3426"/>
              </a:lnSpc>
              <a:defRPr/>
            </a:pPr>
            <a:r>
              <a:rPr lang="ar-MA" sz="2667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درس 1:  عد عناصر مجموعة من 1 إلى 5.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0C15290-63CB-A1E3-D1C2-1DB4940A4A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312;p11" descr="jeu de numéros de dessin animé coloré. numéros d'enfants drôles isolés sur  fond blanc. ensemble vectoriel d'icônes de bébé de 1 à 9 chiffres. symboles  mathématiques de l'école. 9361793 Art vectoriel chez">
            <a:extLst>
              <a:ext uri="{FF2B5EF4-FFF2-40B4-BE49-F238E27FC236}">
                <a16:creationId xmlns:a16="http://schemas.microsoft.com/office/drawing/2014/main" id="{5B2C655F-6DB7-5097-44AF-312D4BB92DC2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6000" y="2006600"/>
            <a:ext cx="6954093" cy="305368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A99835B6-A37F-6422-65B4-2DEF4CFB625E}"/>
              </a:ext>
            </a:extLst>
          </p:cNvPr>
          <p:cNvSpPr txBox="1"/>
          <p:nvPr/>
        </p:nvSpPr>
        <p:spPr>
          <a:xfrm>
            <a:off x="1016000" y="467104"/>
            <a:ext cx="7462091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سنقرأ جماعة الأرقام.</a:t>
            </a:r>
            <a:endParaRPr dirty="0"/>
          </a:p>
          <a:p>
            <a:pPr algn="r" rtl="1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عيده المدرس عدة مرات مع المتعلمين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8C3F5198-F4D2-806F-E437-8AB18A3C73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8317184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 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42577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DDE7A29-D798-E6BF-88A9-33EE8B5B8B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ZoneTexte 13">
            <a:extLst>
              <a:ext uri="{FF2B5EF4-FFF2-40B4-BE49-F238E27FC236}">
                <a16:creationId xmlns:a16="http://schemas.microsoft.com/office/drawing/2014/main" id="{AE544309-051C-0E1E-5D0D-1DAA508C1338}"/>
              </a:ext>
            </a:extLst>
          </p:cNvPr>
          <p:cNvSpPr txBox="1"/>
          <p:nvPr/>
        </p:nvSpPr>
        <p:spPr>
          <a:xfrm>
            <a:off x="759329" y="510575"/>
            <a:ext cx="7806610" cy="392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lnSpc>
                <a:spcPct val="115000"/>
              </a:lnSpc>
              <a:spcAft>
                <a:spcPts val="800"/>
              </a:spcAft>
            </a:pPr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في درس اليوم سنتعلم كيف نعد عناصر مجموعات ونمثل عددها بالأصابع</a:t>
            </a:r>
            <a:endParaRPr lang="fr-MA" b="1" dirty="0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Table 15">
            <a:extLst>
              <a:ext uri="{FF2B5EF4-FFF2-40B4-BE49-F238E27FC236}">
                <a16:creationId xmlns:a16="http://schemas.microsoft.com/office/drawing/2014/main" id="{68B52E85-9EF5-47DA-B64D-8DCE1F6D24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5780332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 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F0E29129-FCFD-75F5-BDC7-E4B83BB545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" t="15165" r="1881" b="2582"/>
          <a:stretch/>
        </p:blipFill>
        <p:spPr>
          <a:xfrm>
            <a:off x="596328" y="2458387"/>
            <a:ext cx="7951343" cy="287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7097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75046-D327-CBCA-5FD2-A7FA559A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2F7C0A4B-B1F0-ABD8-D604-EA7FE6BF6440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F7B80CEE-EF85-F60C-1AD2-8ACD885F40CD}"/>
              </a:ext>
            </a:extLst>
          </p:cNvPr>
          <p:cNvSpPr txBox="1"/>
          <p:nvPr/>
        </p:nvSpPr>
        <p:spPr>
          <a:xfrm>
            <a:off x="1380413" y="266700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6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أنشطة تمهيدية 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BF2ECF8D-27F6-F5DD-06AA-B8EF94921124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858F755C-F06E-B25D-B5A7-240CFF8CEA67}"/>
              </a:ext>
            </a:extLst>
          </p:cNvPr>
          <p:cNvSpPr/>
          <p:nvPr/>
        </p:nvSpPr>
        <p:spPr>
          <a:xfrm>
            <a:off x="7804156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62EDB2A-6233-5C90-30CD-C686608A86D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23928" y="3717032"/>
            <a:ext cx="1472378" cy="218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4066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13E554E-FFE7-E9C9-5F97-5B507DBBB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53;p15">
            <a:extLst>
              <a:ext uri="{FF2B5EF4-FFF2-40B4-BE49-F238E27FC236}">
                <a16:creationId xmlns:a16="http://schemas.microsoft.com/office/drawing/2014/main" id="{91D0595E-B4B1-0522-36D9-B07694AF5A5A}"/>
              </a:ext>
            </a:extLst>
          </p:cNvPr>
          <p:cNvSpPr txBox="1"/>
          <p:nvPr/>
        </p:nvSpPr>
        <p:spPr>
          <a:xfrm>
            <a:off x="319506" y="486830"/>
            <a:ext cx="8229598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سنتعلم كيف نعد الأشياء </a:t>
            </a:r>
            <a:endParaRPr dirty="0"/>
          </a:p>
          <a:p>
            <a:pPr algn="r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تأكد الأستاذ من فهم المتعلمين للمطلوب عبر دفعهم إلى التعبير عن ذلك بلغة بسيطة.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355;p15">
            <a:extLst>
              <a:ext uri="{FF2B5EF4-FFF2-40B4-BE49-F238E27FC236}">
                <a16:creationId xmlns:a16="http://schemas.microsoft.com/office/drawing/2014/main" id="{064D082B-F87F-E7A9-7591-8084A4BEF2A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438519" y="1295400"/>
            <a:ext cx="6266963" cy="4836917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356;p15">
            <a:extLst>
              <a:ext uri="{FF2B5EF4-FFF2-40B4-BE49-F238E27FC236}">
                <a16:creationId xmlns:a16="http://schemas.microsoft.com/office/drawing/2014/main" id="{6DE8CF45-2217-D438-1D5F-2D8FF6325653}"/>
              </a:ext>
            </a:extLst>
          </p:cNvPr>
          <p:cNvSpPr/>
          <p:nvPr/>
        </p:nvSpPr>
        <p:spPr>
          <a:xfrm>
            <a:off x="889000" y="4445000"/>
            <a:ext cx="7366000" cy="2070555"/>
          </a:xfrm>
          <a:prstGeom prst="ellipse">
            <a:avLst/>
          </a:prstGeom>
          <a:noFill/>
          <a:ln w="57150" cap="flat" cmpd="sng">
            <a:solidFill>
              <a:srgbClr val="385623"/>
            </a:solidFill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5" name="Table 15">
            <a:extLst>
              <a:ext uri="{FF2B5EF4-FFF2-40B4-BE49-F238E27FC236}">
                <a16:creationId xmlns:a16="http://schemas.microsoft.com/office/drawing/2014/main" id="{98E28D43-4D5A-44AD-E74E-FA5501487E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2082893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902571AC-2751-AB8F-9740-22765476F80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7582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EC9309-5985-E0E7-0432-E766F3DDA4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53;p15">
            <a:extLst>
              <a:ext uri="{FF2B5EF4-FFF2-40B4-BE49-F238E27FC236}">
                <a16:creationId xmlns:a16="http://schemas.microsoft.com/office/drawing/2014/main" id="{1D422A6A-7FE4-0D01-AC4A-4D98051F9FC3}"/>
              </a:ext>
            </a:extLst>
          </p:cNvPr>
          <p:cNvSpPr txBox="1"/>
          <p:nvPr/>
        </p:nvSpPr>
        <p:spPr>
          <a:xfrm>
            <a:off x="291433" y="559963"/>
            <a:ext cx="8229598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نتبهوا</a:t>
            </a:r>
            <a:r>
              <a:rPr lang="f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 !</a:t>
            </a:r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. لِعَدّ الأشياء سنستعمل الأصبع. ارفعوا أصبعكم كما فعلت.</a:t>
            </a:r>
            <a:endParaRPr dirty="0"/>
          </a:p>
        </p:txBody>
      </p:sp>
      <p:graphicFrame>
        <p:nvGraphicFramePr>
          <p:cNvPr id="3" name="Table 15">
            <a:extLst>
              <a:ext uri="{FF2B5EF4-FFF2-40B4-BE49-F238E27FC236}">
                <a16:creationId xmlns:a16="http://schemas.microsoft.com/office/drawing/2014/main" id="{B5013132-CA5C-26D0-BF0C-1BED8F0118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7262303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4" name="Image 3" descr="Une image contenant clipart, conception, art&#10;&#10;Description générée automatiquement">
            <a:extLst>
              <a:ext uri="{FF2B5EF4-FFF2-40B4-BE49-F238E27FC236}">
                <a16:creationId xmlns:a16="http://schemas.microsoft.com/office/drawing/2014/main" id="{0030805A-06A4-00C4-B541-0F8F950BFF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1063" y="2260545"/>
            <a:ext cx="1501873" cy="263094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C3FDE13C-9FED-B383-97A7-486D13B85E5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3" y="564882"/>
            <a:ext cx="1224769" cy="875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5584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211B32E-4572-1845-AC70-80A87713CE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76;p17">
            <a:extLst>
              <a:ext uri="{FF2B5EF4-FFF2-40B4-BE49-F238E27FC236}">
                <a16:creationId xmlns:a16="http://schemas.microsoft.com/office/drawing/2014/main" id="{FCA74E8C-D180-31E8-87DB-EEC09FCBB4BD}"/>
              </a:ext>
            </a:extLst>
          </p:cNvPr>
          <p:cNvSpPr txBox="1"/>
          <p:nvPr/>
        </p:nvSpPr>
        <p:spPr>
          <a:xfrm>
            <a:off x="1138919" y="552720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سأعد أقلام الرصاص. لاحظوا جيدا، 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378;p17">
            <a:extLst>
              <a:ext uri="{FF2B5EF4-FFF2-40B4-BE49-F238E27FC236}">
                <a16:creationId xmlns:a16="http://schemas.microsoft.com/office/drawing/2014/main" id="{5ACB52C2-B6BB-A54C-11F7-E7554DFE998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352800" y="2889838"/>
            <a:ext cx="2715201" cy="1372357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E8395897-4259-EF69-8395-71E30FF517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7017650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08FC9C6-8F0C-B5FE-E6B8-44A4886BFEB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5479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C17AC0C-FA12-1E06-A8D3-91A44B0B1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87;p18">
            <a:extLst>
              <a:ext uri="{FF2B5EF4-FFF2-40B4-BE49-F238E27FC236}">
                <a16:creationId xmlns:a16="http://schemas.microsoft.com/office/drawing/2014/main" id="{37216BF5-BF48-1330-4498-C619F2A1A759}"/>
              </a:ext>
            </a:extLst>
          </p:cNvPr>
          <p:cNvSpPr txBox="1"/>
          <p:nvPr/>
        </p:nvSpPr>
        <p:spPr>
          <a:xfrm>
            <a:off x="1157420" y="509579"/>
            <a:ext cx="7315199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واحد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r" rtl="1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شير المدرس بأصبعه إلى القلم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389;p18">
            <a:extLst>
              <a:ext uri="{FF2B5EF4-FFF2-40B4-BE49-F238E27FC236}">
                <a16:creationId xmlns:a16="http://schemas.microsoft.com/office/drawing/2014/main" id="{A209F7CB-B97A-F20E-5235-5F3035F267F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302000" y="2362200"/>
            <a:ext cx="2715201" cy="1372357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Image 3" descr="Une image contenant clipart, conception, art&#10;&#10;Description générée automatiquement">
            <a:extLst>
              <a:ext uri="{FF2B5EF4-FFF2-40B4-BE49-F238E27FC236}">
                <a16:creationId xmlns:a16="http://schemas.microsoft.com/office/drawing/2014/main" id="{6F5AD91D-BC02-6A7E-D05F-34EB43B004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597158">
            <a:off x="4540688" y="3000088"/>
            <a:ext cx="1049688" cy="1838816"/>
          </a:xfrm>
          <a:prstGeom prst="rect">
            <a:avLst/>
          </a:prstGeom>
        </p:spPr>
      </p:pic>
      <p:graphicFrame>
        <p:nvGraphicFramePr>
          <p:cNvPr id="5" name="Table 15">
            <a:extLst>
              <a:ext uri="{FF2B5EF4-FFF2-40B4-BE49-F238E27FC236}">
                <a16:creationId xmlns:a16="http://schemas.microsoft.com/office/drawing/2014/main" id="{E1DB3881-5825-A558-D299-EF4A962995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344735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43227A12-20BB-AEE7-5612-3A4E512801F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6678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0C230F2-D7A3-DDD6-3201-7AEAA3EB66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99;p19">
            <a:extLst>
              <a:ext uri="{FF2B5EF4-FFF2-40B4-BE49-F238E27FC236}">
                <a16:creationId xmlns:a16="http://schemas.microsoft.com/office/drawing/2014/main" id="{793DFAE5-9692-D86A-756D-880BAED90D36}"/>
              </a:ext>
            </a:extLst>
          </p:cNvPr>
          <p:cNvSpPr txBox="1"/>
          <p:nvPr/>
        </p:nvSpPr>
        <p:spPr>
          <a:xfrm>
            <a:off x="1145389" y="576400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واحد. قلم رصاص واحد</a:t>
            </a:r>
            <a:endParaRPr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401;p19">
            <a:extLst>
              <a:ext uri="{FF2B5EF4-FFF2-40B4-BE49-F238E27FC236}">
                <a16:creationId xmlns:a16="http://schemas.microsoft.com/office/drawing/2014/main" id="{D75CCF62-F898-845E-079D-FC456C16C22B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302000" y="2362200"/>
            <a:ext cx="2715201" cy="1372357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402;p19">
            <a:extLst>
              <a:ext uri="{FF2B5EF4-FFF2-40B4-BE49-F238E27FC236}">
                <a16:creationId xmlns:a16="http://schemas.microsoft.com/office/drawing/2014/main" id="{69433B85-BBF6-B322-7EE5-E4BD73A26BC3}"/>
              </a:ext>
            </a:extLst>
          </p:cNvPr>
          <p:cNvSpPr/>
          <p:nvPr/>
        </p:nvSpPr>
        <p:spPr>
          <a:xfrm rot="20700497">
            <a:off x="3054407" y="1993349"/>
            <a:ext cx="3268731" cy="2138851"/>
          </a:xfrm>
          <a:prstGeom prst="ellipse">
            <a:avLst/>
          </a:prstGeom>
          <a:noFill/>
          <a:ln w="57150" cap="flat" cmpd="sng">
            <a:solidFill>
              <a:srgbClr val="38562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5" name="Table 15">
            <a:extLst>
              <a:ext uri="{FF2B5EF4-FFF2-40B4-BE49-F238E27FC236}">
                <a16:creationId xmlns:a16="http://schemas.microsoft.com/office/drawing/2014/main" id="{A2AB1D55-E7F8-5848-1346-AC214FE1CA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2922533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B3B54BC1-47D4-17B9-0A1E-066DC966862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1243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D1EAE1D-A60E-370C-FA69-66ED7E663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425;p21">
            <a:extLst>
              <a:ext uri="{FF2B5EF4-FFF2-40B4-BE49-F238E27FC236}">
                <a16:creationId xmlns:a16="http://schemas.microsoft.com/office/drawing/2014/main" id="{1B94D4DD-8A34-88CD-AE5E-251D6755529E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673600" y="2777130"/>
            <a:ext cx="2579447" cy="130374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426;p21">
            <a:extLst>
              <a:ext uri="{FF2B5EF4-FFF2-40B4-BE49-F238E27FC236}">
                <a16:creationId xmlns:a16="http://schemas.microsoft.com/office/drawing/2014/main" id="{6E2B85FA-C999-6DA1-CD17-ADF4E84211F3}"/>
              </a:ext>
            </a:extLst>
          </p:cNvPr>
          <p:cNvSpPr txBox="1"/>
          <p:nvPr/>
        </p:nvSpPr>
        <p:spPr>
          <a:xfrm>
            <a:off x="4525108" y="544338"/>
            <a:ext cx="3939385" cy="63617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مثلوا العدد واحد بالأصبع هكذا.</a:t>
            </a:r>
          </a:p>
          <a:p>
            <a:pPr algn="r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مثل المدرس واحد بإبهامه كما في الصورة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427;p21">
            <a:extLst>
              <a:ext uri="{FF2B5EF4-FFF2-40B4-BE49-F238E27FC236}">
                <a16:creationId xmlns:a16="http://schemas.microsoft.com/office/drawing/2014/main" id="{9D5C69A9-7DB4-722C-8293-1914F54EEC89}"/>
              </a:ext>
            </a:extLst>
          </p:cNvPr>
          <p:cNvSpPr/>
          <p:nvPr/>
        </p:nvSpPr>
        <p:spPr>
          <a:xfrm>
            <a:off x="3773322" y="2417970"/>
            <a:ext cx="4256162" cy="2022061"/>
          </a:xfrm>
          <a:prstGeom prst="ellipse">
            <a:avLst/>
          </a:prstGeom>
          <a:noFill/>
          <a:ln w="57150" cap="flat" cmpd="sng">
            <a:solidFill>
              <a:srgbClr val="38562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Google Shape;428;p21">
            <a:extLst>
              <a:ext uri="{FF2B5EF4-FFF2-40B4-BE49-F238E27FC236}">
                <a16:creationId xmlns:a16="http://schemas.microsoft.com/office/drawing/2014/main" id="{5C68DC8B-E5FE-9D2D-505E-7F31835FAE3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18999" y="2108200"/>
            <a:ext cx="2738524" cy="282957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Table 15">
            <a:extLst>
              <a:ext uri="{FF2B5EF4-FFF2-40B4-BE49-F238E27FC236}">
                <a16:creationId xmlns:a16="http://schemas.microsoft.com/office/drawing/2014/main" id="{824FA4CA-D567-9D53-84FC-078A912B8E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4512542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4136AA54-6550-E705-0C45-ED3E3BBC811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3" y="564882"/>
            <a:ext cx="1224769" cy="875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2068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4690783-1BF1-C4AB-9BD6-B44FD2F41C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37;p22">
            <a:extLst>
              <a:ext uri="{FF2B5EF4-FFF2-40B4-BE49-F238E27FC236}">
                <a16:creationId xmlns:a16="http://schemas.microsoft.com/office/drawing/2014/main" id="{2F716A64-E34F-5783-2CCE-2FF16F9197B4}"/>
              </a:ext>
            </a:extLst>
          </p:cNvPr>
          <p:cNvSpPr txBox="1"/>
          <p:nvPr/>
        </p:nvSpPr>
        <p:spPr>
          <a:xfrm>
            <a:off x="1121346" y="600635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لآن سأعد الأقلام الحمراء.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439;p22">
            <a:extLst>
              <a:ext uri="{FF2B5EF4-FFF2-40B4-BE49-F238E27FC236}">
                <a16:creationId xmlns:a16="http://schemas.microsoft.com/office/drawing/2014/main" id="{DAF7D685-D7E2-2E98-5CA4-12D3AE96C3B5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032000" y="2159001"/>
            <a:ext cx="2101231" cy="1999087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440;p22">
            <a:extLst>
              <a:ext uri="{FF2B5EF4-FFF2-40B4-BE49-F238E27FC236}">
                <a16:creationId xmlns:a16="http://schemas.microsoft.com/office/drawing/2014/main" id="{7FD32BB4-99CF-E6A8-A38A-2E400B23696A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113962" y="2970356"/>
            <a:ext cx="2101231" cy="1999087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Table 15">
            <a:extLst>
              <a:ext uri="{FF2B5EF4-FFF2-40B4-BE49-F238E27FC236}">
                <a16:creationId xmlns:a16="http://schemas.microsoft.com/office/drawing/2014/main" id="{22F491DE-B121-ED89-3EBA-5E0D08C299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4892586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8B7F645D-DE6B-509E-5593-0BF22C51CFF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0592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8616CE26-0DA5-D986-849B-9EC635F5EE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16CE26-0DA5-D986-849B-9EC635F5EE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just" defTabSz="457223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254000" y="736600"/>
            <a:ext cx="8636000" cy="5596244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457223">
                <a:defRPr/>
              </a:pPr>
              <a:endParaRPr lang="fr-MA"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just" defTabSz="457223">
                <a:lnSpc>
                  <a:spcPts val="1605"/>
                </a:lnSpc>
                <a:defRPr/>
              </a:pPr>
              <a:endParaRPr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" name="Freeform 7"/>
          <p:cNvSpPr/>
          <p:nvPr/>
        </p:nvSpPr>
        <p:spPr>
          <a:xfrm>
            <a:off x="8077201" y="294200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501EBCDE-36C0-A82B-4E0F-196E5747F43F}"/>
              </a:ext>
            </a:extLst>
          </p:cNvPr>
          <p:cNvSpPr txBox="1"/>
          <p:nvPr/>
        </p:nvSpPr>
        <p:spPr>
          <a:xfrm>
            <a:off x="863600" y="736600"/>
            <a:ext cx="7366000" cy="64190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5486"/>
              </a:lnSpc>
              <a:defRPr/>
            </a:pPr>
            <a:r>
              <a:rPr lang="ar-MA" sz="3334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توجيهات لاستعمال العرض </a:t>
            </a:r>
            <a:endParaRPr lang="fr-FR" sz="3334" b="1" kern="0">
              <a:solidFill>
                <a:srgbClr val="10658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702DFF91-BE99-3E50-B4DB-921EC6655E73}"/>
              </a:ext>
            </a:extLst>
          </p:cNvPr>
          <p:cNvSpPr/>
          <p:nvPr/>
        </p:nvSpPr>
        <p:spPr>
          <a:xfrm>
            <a:off x="7302809" y="2219363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0C3F5564-E282-6432-2508-E84DBA80A27A}"/>
              </a:ext>
            </a:extLst>
          </p:cNvPr>
          <p:cNvSpPr/>
          <p:nvPr/>
        </p:nvSpPr>
        <p:spPr>
          <a:xfrm flipH="1">
            <a:off x="7401742" y="3524554"/>
            <a:ext cx="619583" cy="418635"/>
          </a:xfrm>
          <a:custGeom>
            <a:avLst/>
            <a:gdLst/>
            <a:ahLst/>
            <a:cxnLst/>
            <a:rect l="l" t="t" r="r" b="b"/>
            <a:pathLst>
              <a:path w="771785" h="671453">
                <a:moveTo>
                  <a:pt x="0" y="0"/>
                </a:moveTo>
                <a:lnTo>
                  <a:pt x="771785" y="0"/>
                </a:lnTo>
                <a:lnTo>
                  <a:pt x="771785" y="671453"/>
                </a:lnTo>
                <a:lnTo>
                  <a:pt x="0" y="6714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 b="1">
              <a:solidFill>
                <a:prstClr val="white">
                  <a:lumMod val="50000"/>
                </a:prstClr>
              </a:solidFill>
              <a:latin typeface="Dosis" pitchFamily="2" charset="0"/>
            </a:endParaRPr>
          </a:p>
        </p:txBody>
      </p:sp>
      <p:sp>
        <p:nvSpPr>
          <p:cNvPr id="9" name="ZoneTexte 22">
            <a:extLst>
              <a:ext uri="{FF2B5EF4-FFF2-40B4-BE49-F238E27FC236}">
                <a16:creationId xmlns:a16="http://schemas.microsoft.com/office/drawing/2014/main" id="{204D686E-0C64-CA2D-9563-F8C4D92032C5}"/>
              </a:ext>
            </a:extLst>
          </p:cNvPr>
          <p:cNvSpPr txBox="1"/>
          <p:nvPr/>
        </p:nvSpPr>
        <p:spPr>
          <a:xfrm>
            <a:off x="7085634" y="4561946"/>
            <a:ext cx="106279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09630" rtl="1">
              <a:defRPr/>
            </a:pPr>
            <a:r>
              <a:rPr lang="ar-MA" sz="1600" i="1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قرأ المدرس الأرقام بإنشاد</a:t>
            </a:r>
            <a:endParaRPr lang="fr-FR" sz="1600" i="1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B866FD7-8AE4-8373-D9A0-87B803080F41}"/>
              </a:ext>
            </a:extLst>
          </p:cNvPr>
          <p:cNvSpPr txBox="1"/>
          <p:nvPr/>
        </p:nvSpPr>
        <p:spPr>
          <a:xfrm>
            <a:off x="1630756" y="2505297"/>
            <a:ext cx="4572000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09630" rtl="1">
              <a:defRPr/>
            </a:pPr>
            <a:r>
              <a:rPr lang="ar-MA" sz="1867" b="1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شرائح خاصة بالأستاذ(ة)</a:t>
            </a:r>
            <a:endParaRPr lang="fr-FR" sz="1867" b="1">
              <a:solidFill>
                <a:srgbClr val="1F497D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BDFF28-A310-CC0C-A329-919FFF43DD0E}"/>
              </a:ext>
            </a:extLst>
          </p:cNvPr>
          <p:cNvSpPr txBox="1"/>
          <p:nvPr/>
        </p:nvSpPr>
        <p:spPr>
          <a:xfrm>
            <a:off x="626071" y="3263207"/>
            <a:ext cx="5598312" cy="66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09630">
              <a:defRPr/>
            </a:pPr>
            <a:endParaRPr lang="en-GB" sz="1867" b="1">
              <a:solidFill>
                <a:srgbClr val="1F497D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 defTabSz="609630">
              <a:defRPr/>
            </a:pPr>
            <a:r>
              <a:rPr lang="ar-MA" sz="1867" b="1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إرشادات للشروحات والتعليمات التي يجب على الأستاذ(ة) قولها</a:t>
            </a:r>
            <a:endParaRPr lang="fr-FR" sz="1867" b="1">
              <a:solidFill>
                <a:srgbClr val="1F497D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2B8F69A-2AAE-FFAF-187A-48C5CEA57BA5}"/>
              </a:ext>
            </a:extLst>
          </p:cNvPr>
          <p:cNvSpPr txBox="1"/>
          <p:nvPr/>
        </p:nvSpPr>
        <p:spPr>
          <a:xfrm>
            <a:off x="1678527" y="4731955"/>
            <a:ext cx="4572000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09630">
              <a:defRPr/>
            </a:pPr>
            <a:r>
              <a:rPr lang="ar-AE" sz="1867" b="1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مثلة على التوجيهات </a:t>
            </a:r>
            <a:r>
              <a:rPr lang="ar-MA" sz="1867" b="1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لأستاذ(ة)</a:t>
            </a:r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38" name="Image 12">
            <a:extLst>
              <a:ext uri="{FF2B5EF4-FFF2-40B4-BE49-F238E27FC236}">
                <a16:creationId xmlns:a16="http://schemas.microsoft.com/office/drawing/2014/main" id="{BEA557F0-1978-74C8-2148-1CE354349F0B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335201" y="2414631"/>
            <a:ext cx="812326" cy="449702"/>
          </a:xfrm>
          <a:prstGeom prst="rect">
            <a:avLst/>
          </a:prstGeom>
        </p:spPr>
      </p:pic>
      <p:pic>
        <p:nvPicPr>
          <p:cNvPr id="41" name="Image 12">
            <a:extLst>
              <a:ext uri="{FF2B5EF4-FFF2-40B4-BE49-F238E27FC236}">
                <a16:creationId xmlns:a16="http://schemas.microsoft.com/office/drawing/2014/main" id="{6BFEE519-2C32-4159-0871-D20BE7302807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365874" y="3452536"/>
            <a:ext cx="812326" cy="449702"/>
          </a:xfrm>
          <a:prstGeom prst="rect">
            <a:avLst/>
          </a:prstGeom>
        </p:spPr>
      </p:pic>
      <p:pic>
        <p:nvPicPr>
          <p:cNvPr id="42" name="Image 12">
            <a:extLst>
              <a:ext uri="{FF2B5EF4-FFF2-40B4-BE49-F238E27FC236}">
                <a16:creationId xmlns:a16="http://schemas.microsoft.com/office/drawing/2014/main" id="{85B2C013-F479-B03F-1A13-C155A5507CE4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6355714" y="4612116"/>
            <a:ext cx="812326" cy="449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9446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D8745CB-F35F-5796-C805-BEE1B7BD9D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49;p23">
            <a:extLst>
              <a:ext uri="{FF2B5EF4-FFF2-40B4-BE49-F238E27FC236}">
                <a16:creationId xmlns:a16="http://schemas.microsoft.com/office/drawing/2014/main" id="{A45C2E52-4C96-C9E2-1EFF-7BC4EFEF32E6}"/>
              </a:ext>
            </a:extLst>
          </p:cNvPr>
          <p:cNvSpPr txBox="1"/>
          <p:nvPr/>
        </p:nvSpPr>
        <p:spPr>
          <a:xfrm>
            <a:off x="1101044" y="558722"/>
            <a:ext cx="7315199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واحد.</a:t>
            </a:r>
            <a:endParaRPr dirty="0"/>
          </a:p>
          <a:p>
            <a:pPr algn="r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شير الأستاذ بأصبعه إلى كل قلم يعده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451;p23">
            <a:extLst>
              <a:ext uri="{FF2B5EF4-FFF2-40B4-BE49-F238E27FC236}">
                <a16:creationId xmlns:a16="http://schemas.microsoft.com/office/drawing/2014/main" id="{BA84CEF9-419B-C637-6509-0999796FE0BE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692400" y="2202933"/>
            <a:ext cx="1838454" cy="1749555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452;p23">
            <a:extLst>
              <a:ext uri="{FF2B5EF4-FFF2-40B4-BE49-F238E27FC236}">
                <a16:creationId xmlns:a16="http://schemas.microsoft.com/office/drawing/2014/main" id="{BF0F159E-233C-1A81-A92D-1D51171308F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21372895">
            <a:off x="4598199" y="2724704"/>
            <a:ext cx="1800265" cy="1713212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453;p23">
            <a:extLst>
              <a:ext uri="{FF2B5EF4-FFF2-40B4-BE49-F238E27FC236}">
                <a16:creationId xmlns:a16="http://schemas.microsoft.com/office/drawing/2014/main" id="{326934E1-E057-99ED-0EC9-77A1684DFB70}"/>
              </a:ext>
            </a:extLst>
          </p:cNvPr>
          <p:cNvPicPr preferRelativeResize="0"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714367">
            <a:off x="2980883" y="3354185"/>
            <a:ext cx="1255408" cy="1693806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Table 15">
            <a:extLst>
              <a:ext uri="{FF2B5EF4-FFF2-40B4-BE49-F238E27FC236}">
                <a16:creationId xmlns:a16="http://schemas.microsoft.com/office/drawing/2014/main" id="{FFBCB954-22D3-02A8-10D0-CFAFBDEFF2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6437292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C989D74B-6939-3ADD-5D36-41BB0C7BDBD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7849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367FBF5-8EDC-13D0-2FE2-88CD191FB5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62;p24">
            <a:extLst>
              <a:ext uri="{FF2B5EF4-FFF2-40B4-BE49-F238E27FC236}">
                <a16:creationId xmlns:a16="http://schemas.microsoft.com/office/drawing/2014/main" id="{628E3561-7DE0-F319-C7DC-433092BC57B1}"/>
              </a:ext>
            </a:extLst>
          </p:cNvPr>
          <p:cNvSpPr txBox="1"/>
          <p:nvPr/>
        </p:nvSpPr>
        <p:spPr>
          <a:xfrm>
            <a:off x="1149297" y="576726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ثنان.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" name="Google Shape;464;p24">
            <a:extLst>
              <a:ext uri="{FF2B5EF4-FFF2-40B4-BE49-F238E27FC236}">
                <a16:creationId xmlns:a16="http://schemas.microsoft.com/office/drawing/2014/main" id="{2FFDFCC1-8F6A-A7FA-9274-E0AA7AF3BE9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692400" y="2202933"/>
            <a:ext cx="1838454" cy="1749555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465;p24">
            <a:extLst>
              <a:ext uri="{FF2B5EF4-FFF2-40B4-BE49-F238E27FC236}">
                <a16:creationId xmlns:a16="http://schemas.microsoft.com/office/drawing/2014/main" id="{AAA943F6-3AED-5E9F-417F-DBCEDB9CA5BD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21372895">
            <a:off x="4598199" y="2724704"/>
            <a:ext cx="1800265" cy="1713212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466;p24">
            <a:extLst>
              <a:ext uri="{FF2B5EF4-FFF2-40B4-BE49-F238E27FC236}">
                <a16:creationId xmlns:a16="http://schemas.microsoft.com/office/drawing/2014/main" id="{8AC72E87-F7C4-A2B3-1E59-FB7EEA7FE807}"/>
              </a:ext>
            </a:extLst>
          </p:cNvPr>
          <p:cNvPicPr preferRelativeResize="0"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714367">
            <a:off x="5171249" y="3746040"/>
            <a:ext cx="1410163" cy="190260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Table 15">
            <a:extLst>
              <a:ext uri="{FF2B5EF4-FFF2-40B4-BE49-F238E27FC236}">
                <a16:creationId xmlns:a16="http://schemas.microsoft.com/office/drawing/2014/main" id="{59E679E5-AAF4-FFD5-B2EA-03B683E9F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8117251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687BFFAE-F592-E802-4A12-1141A9C8B74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6448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1968465-149C-304F-D769-26D8A07968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75;p25">
            <a:extLst>
              <a:ext uri="{FF2B5EF4-FFF2-40B4-BE49-F238E27FC236}">
                <a16:creationId xmlns:a16="http://schemas.microsoft.com/office/drawing/2014/main" id="{90AFADA0-9484-6C3C-7E6D-80AEBBA48936}"/>
              </a:ext>
            </a:extLst>
          </p:cNvPr>
          <p:cNvSpPr txBox="1"/>
          <p:nvPr/>
        </p:nvSpPr>
        <p:spPr>
          <a:xfrm>
            <a:off x="1128832" y="576972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ثنان.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477;p25">
            <a:extLst>
              <a:ext uri="{FF2B5EF4-FFF2-40B4-BE49-F238E27FC236}">
                <a16:creationId xmlns:a16="http://schemas.microsoft.com/office/drawing/2014/main" id="{D89C213B-1F31-C9E7-74F1-8F1B791178ED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692400" y="2202933"/>
            <a:ext cx="1838454" cy="1749555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478;p25">
            <a:extLst>
              <a:ext uri="{FF2B5EF4-FFF2-40B4-BE49-F238E27FC236}">
                <a16:creationId xmlns:a16="http://schemas.microsoft.com/office/drawing/2014/main" id="{7A7B5660-ABEA-FBAD-F373-AACED89B11E1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21372895">
            <a:off x="4598199" y="2724704"/>
            <a:ext cx="1800265" cy="171321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479;p25">
            <a:extLst>
              <a:ext uri="{FF2B5EF4-FFF2-40B4-BE49-F238E27FC236}">
                <a16:creationId xmlns:a16="http://schemas.microsoft.com/office/drawing/2014/main" id="{473F776A-FBD4-F4C2-F733-A9BB7AB41B32}"/>
              </a:ext>
            </a:extLst>
          </p:cNvPr>
          <p:cNvSpPr/>
          <p:nvPr/>
        </p:nvSpPr>
        <p:spPr>
          <a:xfrm>
            <a:off x="2485292" y="1906954"/>
            <a:ext cx="4117869" cy="2878827"/>
          </a:xfrm>
          <a:prstGeom prst="ellipse">
            <a:avLst/>
          </a:prstGeom>
          <a:noFill/>
          <a:ln w="57150" cap="flat" cmpd="sng">
            <a:solidFill>
              <a:srgbClr val="38562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6" name="Table 15">
            <a:extLst>
              <a:ext uri="{FF2B5EF4-FFF2-40B4-BE49-F238E27FC236}">
                <a16:creationId xmlns:a16="http://schemas.microsoft.com/office/drawing/2014/main" id="{CEDAF104-01B4-C995-FA32-E5E283160F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7658578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5B9BC873-7360-87B8-2350-B2D83434B4C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2328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3AB1F8F-96D2-16C5-B5C5-236DF752E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00;p27">
            <a:extLst>
              <a:ext uri="{FF2B5EF4-FFF2-40B4-BE49-F238E27FC236}">
                <a16:creationId xmlns:a16="http://schemas.microsoft.com/office/drawing/2014/main" id="{CE16C141-641B-EE56-A130-E5B0820B65D3}"/>
              </a:ext>
            </a:extLst>
          </p:cNvPr>
          <p:cNvSpPr txBox="1"/>
          <p:nvPr/>
        </p:nvSpPr>
        <p:spPr>
          <a:xfrm>
            <a:off x="1114840" y="538729"/>
            <a:ext cx="7315199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مثلوا العدد اثنان بالأصابع هكذا.</a:t>
            </a:r>
            <a:endParaRPr dirty="0"/>
          </a:p>
          <a:p>
            <a:pPr algn="r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مثل  المدرس العدد اثنان  بيده كما في الصورة 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501;p27">
            <a:extLst>
              <a:ext uri="{FF2B5EF4-FFF2-40B4-BE49-F238E27FC236}">
                <a16:creationId xmlns:a16="http://schemas.microsoft.com/office/drawing/2014/main" id="{4ECDD9F0-93B1-FEF6-7E6E-ED3CE019C411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676184" y="2189727"/>
            <a:ext cx="1838454" cy="1749555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502;p27">
            <a:extLst>
              <a:ext uri="{FF2B5EF4-FFF2-40B4-BE49-F238E27FC236}">
                <a16:creationId xmlns:a16="http://schemas.microsoft.com/office/drawing/2014/main" id="{20632372-510B-0EBA-FF82-27657CE7626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21372895">
            <a:off x="6146823" y="2773138"/>
            <a:ext cx="1730953" cy="164725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503;p27">
            <a:extLst>
              <a:ext uri="{FF2B5EF4-FFF2-40B4-BE49-F238E27FC236}">
                <a16:creationId xmlns:a16="http://schemas.microsoft.com/office/drawing/2014/main" id="{DBE8A012-48E3-A3B4-5D49-DFB62112719D}"/>
              </a:ext>
            </a:extLst>
          </p:cNvPr>
          <p:cNvSpPr/>
          <p:nvPr/>
        </p:nvSpPr>
        <p:spPr>
          <a:xfrm>
            <a:off x="4114800" y="2057400"/>
            <a:ext cx="4408562" cy="2641601"/>
          </a:xfrm>
          <a:prstGeom prst="ellipse">
            <a:avLst/>
          </a:prstGeom>
          <a:noFill/>
          <a:ln w="57150" cap="flat" cmpd="sng">
            <a:solidFill>
              <a:srgbClr val="38562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" name="Google Shape;504;p27">
            <a:extLst>
              <a:ext uri="{FF2B5EF4-FFF2-40B4-BE49-F238E27FC236}">
                <a16:creationId xmlns:a16="http://schemas.microsoft.com/office/drawing/2014/main" id="{D68AA234-C443-3F6A-2DDE-EE240196947A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14399" y="1597820"/>
            <a:ext cx="2710274" cy="366236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Table 15">
            <a:extLst>
              <a:ext uri="{FF2B5EF4-FFF2-40B4-BE49-F238E27FC236}">
                <a16:creationId xmlns:a16="http://schemas.microsoft.com/office/drawing/2014/main" id="{3C7F940C-A15C-9084-7BC4-CDEFEB30FC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4194855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09CE6D9D-8ECB-C358-759A-6DD1186B4F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3" y="564882"/>
            <a:ext cx="1224769" cy="875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3819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B7A2289-3CB6-6101-BC13-2F5D1EC0B3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14;p28">
            <a:extLst>
              <a:ext uri="{FF2B5EF4-FFF2-40B4-BE49-F238E27FC236}">
                <a16:creationId xmlns:a16="http://schemas.microsoft.com/office/drawing/2014/main" id="{F2EEB564-B009-26A3-809E-7D268B0C782D}"/>
              </a:ext>
            </a:extLst>
          </p:cNvPr>
          <p:cNvSpPr txBox="1"/>
          <p:nvPr/>
        </p:nvSpPr>
        <p:spPr>
          <a:xfrm>
            <a:off x="1192764" y="585540"/>
            <a:ext cx="7315199" cy="34885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 الآن سأعد الكتب. 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516;p28">
            <a:extLst>
              <a:ext uri="{FF2B5EF4-FFF2-40B4-BE49-F238E27FC236}">
                <a16:creationId xmlns:a16="http://schemas.microsoft.com/office/drawing/2014/main" id="{EEA6EC28-65B4-6599-0BC4-BB83F1ADF32C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743200" y="1955800"/>
            <a:ext cx="3973689" cy="32512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8057AD15-E451-9D8F-849B-55CECF7672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32862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209A4C21-0CA6-55EB-52C3-1311F5D7272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3066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1C276FC-17EA-257A-C166-B7DE54CD2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25;p29">
            <a:extLst>
              <a:ext uri="{FF2B5EF4-FFF2-40B4-BE49-F238E27FC236}">
                <a16:creationId xmlns:a16="http://schemas.microsoft.com/office/drawing/2014/main" id="{60958A8D-03F6-980E-2AD5-8FFF425A4B77}"/>
              </a:ext>
            </a:extLst>
          </p:cNvPr>
          <p:cNvSpPr txBox="1"/>
          <p:nvPr/>
        </p:nvSpPr>
        <p:spPr>
          <a:xfrm>
            <a:off x="1179077" y="508043"/>
            <a:ext cx="7315199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واحد.</a:t>
            </a:r>
            <a:endParaRPr dirty="0"/>
          </a:p>
          <a:p>
            <a:pPr algn="r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شير المدرس بأصبعه إلى كل كتاب وهو يعد واحد</a:t>
            </a:r>
            <a:r>
              <a:rPr lang="ar-MA" b="1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b="1"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527;p29">
            <a:extLst>
              <a:ext uri="{FF2B5EF4-FFF2-40B4-BE49-F238E27FC236}">
                <a16:creationId xmlns:a16="http://schemas.microsoft.com/office/drawing/2014/main" id="{0E291FAA-46BC-B68B-0349-9F8BA6828E15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743200" y="1955800"/>
            <a:ext cx="3973689" cy="3251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528;p29">
            <a:extLst>
              <a:ext uri="{FF2B5EF4-FFF2-40B4-BE49-F238E27FC236}">
                <a16:creationId xmlns:a16="http://schemas.microsoft.com/office/drawing/2014/main" id="{9DE65057-57C8-EC4E-B6DE-78A0AD3749FF}"/>
              </a:ext>
            </a:extLst>
          </p:cNvPr>
          <p:cNvPicPr preferRelativeResize="0"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714367">
            <a:off x="4131596" y="4315051"/>
            <a:ext cx="1410163" cy="167456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Table 15">
            <a:extLst>
              <a:ext uri="{FF2B5EF4-FFF2-40B4-BE49-F238E27FC236}">
                <a16:creationId xmlns:a16="http://schemas.microsoft.com/office/drawing/2014/main" id="{42B466FF-193B-0F51-7F38-81736523C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6784944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F48AFA50-C068-B042-F810-D4C59435619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3262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0F9371C-A696-34CF-6E99-6DE0F2AE6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37;p30">
            <a:extLst>
              <a:ext uri="{FF2B5EF4-FFF2-40B4-BE49-F238E27FC236}">
                <a16:creationId xmlns:a16="http://schemas.microsoft.com/office/drawing/2014/main" id="{8AFF0CA9-F4B2-5F74-DA84-6859E87D2B94}"/>
              </a:ext>
            </a:extLst>
          </p:cNvPr>
          <p:cNvSpPr txBox="1"/>
          <p:nvPr/>
        </p:nvSpPr>
        <p:spPr>
          <a:xfrm>
            <a:off x="1194626" y="558731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ثنان. 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539;p30">
            <a:extLst>
              <a:ext uri="{FF2B5EF4-FFF2-40B4-BE49-F238E27FC236}">
                <a16:creationId xmlns:a16="http://schemas.microsoft.com/office/drawing/2014/main" id="{D5701B73-216F-803D-4CFB-AF12CB6348B7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743200" y="1955800"/>
            <a:ext cx="3973689" cy="3251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540;p30">
            <a:extLst>
              <a:ext uri="{FF2B5EF4-FFF2-40B4-BE49-F238E27FC236}">
                <a16:creationId xmlns:a16="http://schemas.microsoft.com/office/drawing/2014/main" id="{CD3B96B5-84E5-7425-EDAF-118EF9E95AB8}"/>
              </a:ext>
            </a:extLst>
          </p:cNvPr>
          <p:cNvPicPr preferRelativeResize="0"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714367">
            <a:off x="5770166" y="2956112"/>
            <a:ext cx="1410163" cy="167456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Table 15">
            <a:extLst>
              <a:ext uri="{FF2B5EF4-FFF2-40B4-BE49-F238E27FC236}">
                <a16:creationId xmlns:a16="http://schemas.microsoft.com/office/drawing/2014/main" id="{DBD67141-09EA-91E6-C6DC-0D70E7D396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216139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CF9F9B57-B3FC-4C4F-35DE-3B7B3A9E6BA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1324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2CC02AB-20E9-0DBF-B221-06FA6F2372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49;p31">
            <a:extLst>
              <a:ext uri="{FF2B5EF4-FFF2-40B4-BE49-F238E27FC236}">
                <a16:creationId xmlns:a16="http://schemas.microsoft.com/office/drawing/2014/main" id="{83DDF90C-2590-ADC2-50BB-A53D2D1B8BB1}"/>
              </a:ext>
            </a:extLst>
          </p:cNvPr>
          <p:cNvSpPr txBox="1"/>
          <p:nvPr/>
        </p:nvSpPr>
        <p:spPr>
          <a:xfrm>
            <a:off x="1207479" y="569367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ثلاثة. 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551;p31">
            <a:extLst>
              <a:ext uri="{FF2B5EF4-FFF2-40B4-BE49-F238E27FC236}">
                <a16:creationId xmlns:a16="http://schemas.microsoft.com/office/drawing/2014/main" id="{3B223CF6-9FFA-D496-0DAF-917726ADEC8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743200" y="1955800"/>
            <a:ext cx="3973689" cy="3251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552;p31">
            <a:extLst>
              <a:ext uri="{FF2B5EF4-FFF2-40B4-BE49-F238E27FC236}">
                <a16:creationId xmlns:a16="http://schemas.microsoft.com/office/drawing/2014/main" id="{D380D0BE-CEB1-41B5-08C8-FB16D256322F}"/>
              </a:ext>
            </a:extLst>
          </p:cNvPr>
          <p:cNvPicPr preferRelativeResize="0"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714367">
            <a:off x="3681934" y="2492787"/>
            <a:ext cx="1410163" cy="167456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Table 15">
            <a:extLst>
              <a:ext uri="{FF2B5EF4-FFF2-40B4-BE49-F238E27FC236}">
                <a16:creationId xmlns:a16="http://schemas.microsoft.com/office/drawing/2014/main" id="{A8C923A9-88B1-6397-43DA-C0EDEC57CB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2313673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F69D2DF1-342A-A12A-DE47-0299A2815C1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9689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AA61E32-0631-49CF-DBDB-447098E062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61;p32">
            <a:extLst>
              <a:ext uri="{FF2B5EF4-FFF2-40B4-BE49-F238E27FC236}">
                <a16:creationId xmlns:a16="http://schemas.microsoft.com/office/drawing/2014/main" id="{23B3A13E-D876-3C2C-0D4A-82423064C768}"/>
              </a:ext>
            </a:extLst>
          </p:cNvPr>
          <p:cNvSpPr txBox="1"/>
          <p:nvPr/>
        </p:nvSpPr>
        <p:spPr>
          <a:xfrm>
            <a:off x="1104950" y="599679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ثلاثة. 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563;p32">
            <a:extLst>
              <a:ext uri="{FF2B5EF4-FFF2-40B4-BE49-F238E27FC236}">
                <a16:creationId xmlns:a16="http://schemas.microsoft.com/office/drawing/2014/main" id="{0041AC9D-3329-AC07-2118-EE029481B4C5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743200" y="1955800"/>
            <a:ext cx="3973689" cy="32512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564;p32">
            <a:extLst>
              <a:ext uri="{FF2B5EF4-FFF2-40B4-BE49-F238E27FC236}">
                <a16:creationId xmlns:a16="http://schemas.microsoft.com/office/drawing/2014/main" id="{8F20ABDB-170B-9B53-194B-177196385833}"/>
              </a:ext>
            </a:extLst>
          </p:cNvPr>
          <p:cNvSpPr/>
          <p:nvPr/>
        </p:nvSpPr>
        <p:spPr>
          <a:xfrm>
            <a:off x="2266462" y="1600671"/>
            <a:ext cx="5064369" cy="3955143"/>
          </a:xfrm>
          <a:prstGeom prst="ellipse">
            <a:avLst/>
          </a:prstGeom>
          <a:noFill/>
          <a:ln w="57150" cap="flat" cmpd="sng">
            <a:solidFill>
              <a:srgbClr val="38562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5" name="Table 15">
            <a:extLst>
              <a:ext uri="{FF2B5EF4-FFF2-40B4-BE49-F238E27FC236}">
                <a16:creationId xmlns:a16="http://schemas.microsoft.com/office/drawing/2014/main" id="{95B9FDF8-2D77-E227-4425-2C24F93B6B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6248293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012BCF5B-C13C-3FB7-6BE7-EF5B3FD6D46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6360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0186B6B-85B4-E97E-7031-5BCD8E0DD8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86;p34">
            <a:extLst>
              <a:ext uri="{FF2B5EF4-FFF2-40B4-BE49-F238E27FC236}">
                <a16:creationId xmlns:a16="http://schemas.microsoft.com/office/drawing/2014/main" id="{07086DCE-221A-F03D-884A-ADDEF45BDE40}"/>
              </a:ext>
            </a:extLst>
          </p:cNvPr>
          <p:cNvSpPr txBox="1"/>
          <p:nvPr/>
        </p:nvSpPr>
        <p:spPr>
          <a:xfrm>
            <a:off x="693088" y="541794"/>
            <a:ext cx="7772399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مثلوا العدد ثلاثة بالأصابع هكذا.</a:t>
            </a:r>
            <a:endParaRPr dirty="0"/>
          </a:p>
          <a:p>
            <a:pPr algn="r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مثل  المدرس  العدد 3 بأصابعه كما في المثال </a:t>
            </a:r>
            <a:endParaRPr b="1"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588;p34">
            <a:extLst>
              <a:ext uri="{FF2B5EF4-FFF2-40B4-BE49-F238E27FC236}">
                <a16:creationId xmlns:a16="http://schemas.microsoft.com/office/drawing/2014/main" id="{7101219E-FDE2-DDFE-DC06-CBD96616C18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627416" y="2209800"/>
            <a:ext cx="2794000" cy="228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589;p34">
            <a:extLst>
              <a:ext uri="{FF2B5EF4-FFF2-40B4-BE49-F238E27FC236}">
                <a16:creationId xmlns:a16="http://schemas.microsoft.com/office/drawing/2014/main" id="{3F0BB43B-F07D-FB9C-D657-907E117D0614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223136" y="1701800"/>
            <a:ext cx="2282064" cy="367279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590;p34">
            <a:extLst>
              <a:ext uri="{FF2B5EF4-FFF2-40B4-BE49-F238E27FC236}">
                <a16:creationId xmlns:a16="http://schemas.microsoft.com/office/drawing/2014/main" id="{B639C38A-3D10-4A14-4A6C-6B873BE89C7A}"/>
              </a:ext>
            </a:extLst>
          </p:cNvPr>
          <p:cNvSpPr/>
          <p:nvPr/>
        </p:nvSpPr>
        <p:spPr>
          <a:xfrm>
            <a:off x="4152864" y="1876800"/>
            <a:ext cx="3768000" cy="2952000"/>
          </a:xfrm>
          <a:prstGeom prst="ellipse">
            <a:avLst/>
          </a:prstGeom>
          <a:noFill/>
          <a:ln w="57150" cap="flat" cmpd="sng">
            <a:solidFill>
              <a:srgbClr val="38562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6" name="Table 15">
            <a:extLst>
              <a:ext uri="{FF2B5EF4-FFF2-40B4-BE49-F238E27FC236}">
                <a16:creationId xmlns:a16="http://schemas.microsoft.com/office/drawing/2014/main" id="{CE96B259-E12A-82CD-16E9-D889D19C32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4354268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3BFFCE0D-8AD5-852A-141D-9FC6D77BE3D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3" y="564882"/>
            <a:ext cx="1224769" cy="875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593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9144000" cy="6858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/>
              <a:stretch>
                <a:fillRect t="-5555" b="-5555"/>
              </a:stretch>
            </a:blipFill>
            <a:ln>
              <a:noFill/>
            </a:ln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271776"/>
              <a:ext cx="12001500" cy="9516240"/>
              <a:chOff x="800100" y="271776"/>
              <a:chExt cx="12001500" cy="9516240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23019"/>
                <a:ext cx="12001500" cy="8964997"/>
                <a:chOff x="0" y="-506922"/>
                <a:chExt cx="3895412" cy="3664738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506922"/>
                  <a:ext cx="3895412" cy="36647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2B7589"/>
                  </a:solidFill>
                </a:ln>
              </p:spPr>
              <p:txBody>
                <a:bodyPr/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lIns="25400" tIns="25400" rIns="25400" bIns="25400" rtlCol="0" anchor="ctr"/>
                <a:lstStyle/>
                <a:p>
                  <a:pPr marL="0" marR="0" lvl="0" indent="0" algn="ctr" defTabSz="609630" rtl="0" eaLnBrk="1" fontAlgn="auto" latinLnBrk="0" hangingPunct="1">
                    <a:lnSpc>
                      <a:spcPts val="1605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800100" y="271776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302517" y="979161"/>
            <a:ext cx="5013577" cy="359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457246" rtl="1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3200" b="1" dirty="0">
                <a:solidFill>
                  <a:srgbClr val="1F497D"/>
                </a:solidFill>
                <a:latin typeface="Dosis" pitchFamily="2" charset="0"/>
              </a:rPr>
              <a:t>الشروط و</a:t>
            </a:r>
            <a:r>
              <a:rPr kumimoji="0" lang="ar-MA" sz="3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t>الوسائل الديداكتيكية والتقنية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263961" y="1751001"/>
            <a:ext cx="1275001" cy="1112031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12984" y="3193347"/>
            <a:ext cx="2979740" cy="359073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حاسوب جاهز يتضمن شرائح الدرس 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245814" y="3180438"/>
            <a:ext cx="1337413" cy="359073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مؤشر الليزر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67960" y="1563756"/>
            <a:ext cx="1488108" cy="1486521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086025" y="3180438"/>
            <a:ext cx="2343704" cy="366169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ar-MA" sz="160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مطابقة الشرائح لإطار العرض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6299CF6B-CE2B-791D-2D1B-A9B2C262C87F}"/>
              </a:ext>
            </a:extLst>
          </p:cNvPr>
          <p:cNvGrpSpPr/>
          <p:nvPr/>
        </p:nvGrpSpPr>
        <p:grpSpPr>
          <a:xfrm>
            <a:off x="5730130" y="1837924"/>
            <a:ext cx="2461234" cy="938185"/>
            <a:chOff x="5927422" y="1637467"/>
            <a:chExt cx="2461234" cy="938185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A7A319C-C059-FFD4-BBFE-F1EB25D84478}"/>
                </a:ext>
              </a:extLst>
            </p:cNvPr>
            <p:cNvSpPr/>
            <p:nvPr/>
          </p:nvSpPr>
          <p:spPr>
            <a:xfrm>
              <a:off x="5927422" y="1772816"/>
              <a:ext cx="2461234" cy="713503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7FBA1A5D-E1CE-DD81-3A1B-57A43E892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607429" y="1637467"/>
              <a:ext cx="1112060" cy="938185"/>
            </a:xfrm>
            <a:prstGeom prst="rect">
              <a:avLst/>
            </a:prstGeom>
          </p:spPr>
        </p:pic>
      </p:grpSp>
      <p:pic>
        <p:nvPicPr>
          <p:cNvPr id="23" name="Image 22" descr="Une image contenant texte, capture d’écran, Police, conception&#10;&#10;Description générée automatiquement">
            <a:extLst>
              <a:ext uri="{FF2B5EF4-FFF2-40B4-BE49-F238E27FC236}">
                <a16:creationId xmlns:a16="http://schemas.microsoft.com/office/drawing/2014/main" id="{0143C57D-A2FA-01FE-5D75-2F61EA5C90F8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691" y="3884683"/>
            <a:ext cx="1309227" cy="18385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D44BCAAB-230D-8B5D-8B99-F47C451DA85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578687" y="5845512"/>
            <a:ext cx="2461234" cy="611979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المذكرة اليومية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 -</a:t>
            </a:r>
            <a:r>
              <a:rPr lang="ar-MA" sz="160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 خطاطة ذهنية 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106986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CCF5321-C316-30A4-B49C-FBC750231E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99;p35">
            <a:extLst>
              <a:ext uri="{FF2B5EF4-FFF2-40B4-BE49-F238E27FC236}">
                <a16:creationId xmlns:a16="http://schemas.microsoft.com/office/drawing/2014/main" id="{2C743046-F5AD-2FB3-6303-9D7668385FE7}"/>
              </a:ext>
            </a:extLst>
          </p:cNvPr>
          <p:cNvSpPr txBox="1"/>
          <p:nvPr/>
        </p:nvSpPr>
        <p:spPr>
          <a:xfrm>
            <a:off x="1082431" y="585301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أعد الآن الأقراص. 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" name="Google Shape;601;p35">
            <a:extLst>
              <a:ext uri="{FF2B5EF4-FFF2-40B4-BE49-F238E27FC236}">
                <a16:creationId xmlns:a16="http://schemas.microsoft.com/office/drawing/2014/main" id="{76268BB5-9911-A841-ECB4-00FA0DE9A1C0}"/>
              </a:ext>
            </a:extLst>
          </p:cNvPr>
          <p:cNvGrpSpPr/>
          <p:nvPr/>
        </p:nvGrpSpPr>
        <p:grpSpPr>
          <a:xfrm>
            <a:off x="3403600" y="2552904"/>
            <a:ext cx="2629877" cy="1752192"/>
            <a:chOff x="5105400" y="3086100"/>
            <a:chExt cx="3944816" cy="2628288"/>
          </a:xfrm>
        </p:grpSpPr>
        <p:sp>
          <p:nvSpPr>
            <p:cNvPr id="4" name="Google Shape;602;p35">
              <a:extLst>
                <a:ext uri="{FF2B5EF4-FFF2-40B4-BE49-F238E27FC236}">
                  <a16:creationId xmlns:a16="http://schemas.microsoft.com/office/drawing/2014/main" id="{A35B3EB3-BB4E-EE37-81E7-E0C14A735245}"/>
                </a:ext>
              </a:extLst>
            </p:cNvPr>
            <p:cNvSpPr/>
            <p:nvPr/>
          </p:nvSpPr>
          <p:spPr>
            <a:xfrm>
              <a:off x="6652846" y="3086100"/>
              <a:ext cx="914400" cy="1063166"/>
            </a:xfrm>
            <a:prstGeom prst="ellipse">
              <a:avLst/>
            </a:prstGeom>
            <a:solidFill>
              <a:srgbClr val="3F48C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603;p35">
              <a:extLst>
                <a:ext uri="{FF2B5EF4-FFF2-40B4-BE49-F238E27FC236}">
                  <a16:creationId xmlns:a16="http://schemas.microsoft.com/office/drawing/2014/main" id="{85592093-D1F3-AB80-D69A-B120ED82D68C}"/>
                </a:ext>
              </a:extLst>
            </p:cNvPr>
            <p:cNvSpPr/>
            <p:nvPr/>
          </p:nvSpPr>
          <p:spPr>
            <a:xfrm>
              <a:off x="8135816" y="4119639"/>
              <a:ext cx="914400" cy="1063166"/>
            </a:xfrm>
            <a:prstGeom prst="ellipse">
              <a:avLst/>
            </a:prstGeom>
            <a:solidFill>
              <a:srgbClr val="22B14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604;p35">
              <a:extLst>
                <a:ext uri="{FF2B5EF4-FFF2-40B4-BE49-F238E27FC236}">
                  <a16:creationId xmlns:a16="http://schemas.microsoft.com/office/drawing/2014/main" id="{F36F5385-C405-91EF-9F34-D16A2998858A}"/>
                </a:ext>
              </a:extLst>
            </p:cNvPr>
            <p:cNvSpPr/>
            <p:nvPr/>
          </p:nvSpPr>
          <p:spPr>
            <a:xfrm>
              <a:off x="6705600" y="4651222"/>
              <a:ext cx="914400" cy="1063166"/>
            </a:xfrm>
            <a:prstGeom prst="ellipse">
              <a:avLst/>
            </a:prstGeom>
            <a:solidFill>
              <a:srgbClr val="00A2E8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605;p35">
              <a:extLst>
                <a:ext uri="{FF2B5EF4-FFF2-40B4-BE49-F238E27FC236}">
                  <a16:creationId xmlns:a16="http://schemas.microsoft.com/office/drawing/2014/main" id="{37A59F7B-7EE9-66F8-F20F-7CD078458D2F}"/>
                </a:ext>
              </a:extLst>
            </p:cNvPr>
            <p:cNvSpPr/>
            <p:nvPr/>
          </p:nvSpPr>
          <p:spPr>
            <a:xfrm>
              <a:off x="5105400" y="4498142"/>
              <a:ext cx="914400" cy="1063166"/>
            </a:xfrm>
            <a:prstGeom prst="ellipse">
              <a:avLst/>
            </a:prstGeom>
            <a:solidFill>
              <a:srgbClr val="FF7F27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aphicFrame>
        <p:nvGraphicFramePr>
          <p:cNvPr id="8" name="Table 15">
            <a:extLst>
              <a:ext uri="{FF2B5EF4-FFF2-40B4-BE49-F238E27FC236}">
                <a16:creationId xmlns:a16="http://schemas.microsoft.com/office/drawing/2014/main" id="{0E937F50-AFF2-1910-C1F1-948EF1C314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484528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9" name="Image 8">
            <a:extLst>
              <a:ext uri="{FF2B5EF4-FFF2-40B4-BE49-F238E27FC236}">
                <a16:creationId xmlns:a16="http://schemas.microsoft.com/office/drawing/2014/main" id="{5670671C-E42C-013B-A014-03D4A2D17C7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100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61E76F0-FD12-92C9-9F96-55AA83819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14;p36">
            <a:extLst>
              <a:ext uri="{FF2B5EF4-FFF2-40B4-BE49-F238E27FC236}">
                <a16:creationId xmlns:a16="http://schemas.microsoft.com/office/drawing/2014/main" id="{6C0D74F8-F902-0066-D7FC-52F13AC0EE87}"/>
              </a:ext>
            </a:extLst>
          </p:cNvPr>
          <p:cNvSpPr txBox="1"/>
          <p:nvPr/>
        </p:nvSpPr>
        <p:spPr>
          <a:xfrm>
            <a:off x="1082431" y="545508"/>
            <a:ext cx="7315199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واحد.</a:t>
            </a:r>
            <a:endParaRPr dirty="0"/>
          </a:p>
          <a:p>
            <a:pPr algn="r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عد المدرس الأقراص ويضع أصبعه على كل قرص يعده</a:t>
            </a:r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" name="Google Shape;616;p36">
            <a:extLst>
              <a:ext uri="{FF2B5EF4-FFF2-40B4-BE49-F238E27FC236}">
                <a16:creationId xmlns:a16="http://schemas.microsoft.com/office/drawing/2014/main" id="{6BDE6D8A-A2A7-CDB6-034D-7AB10B2996CD}"/>
              </a:ext>
            </a:extLst>
          </p:cNvPr>
          <p:cNvGrpSpPr/>
          <p:nvPr/>
        </p:nvGrpSpPr>
        <p:grpSpPr>
          <a:xfrm>
            <a:off x="3403600" y="2057400"/>
            <a:ext cx="2629877" cy="1752192"/>
            <a:chOff x="5105400" y="3086100"/>
            <a:chExt cx="3944816" cy="2628288"/>
          </a:xfrm>
        </p:grpSpPr>
        <p:sp>
          <p:nvSpPr>
            <p:cNvPr id="4" name="Google Shape;617;p36">
              <a:extLst>
                <a:ext uri="{FF2B5EF4-FFF2-40B4-BE49-F238E27FC236}">
                  <a16:creationId xmlns:a16="http://schemas.microsoft.com/office/drawing/2014/main" id="{E4288C74-9D28-2E9C-3E2C-D47AD1D84C5E}"/>
                </a:ext>
              </a:extLst>
            </p:cNvPr>
            <p:cNvSpPr/>
            <p:nvPr/>
          </p:nvSpPr>
          <p:spPr>
            <a:xfrm>
              <a:off x="6652846" y="3086100"/>
              <a:ext cx="914400" cy="1063166"/>
            </a:xfrm>
            <a:prstGeom prst="ellipse">
              <a:avLst/>
            </a:prstGeom>
            <a:solidFill>
              <a:srgbClr val="3F48C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618;p36">
              <a:extLst>
                <a:ext uri="{FF2B5EF4-FFF2-40B4-BE49-F238E27FC236}">
                  <a16:creationId xmlns:a16="http://schemas.microsoft.com/office/drawing/2014/main" id="{404F9F35-A050-E062-B77A-A27C3CDE6F89}"/>
                </a:ext>
              </a:extLst>
            </p:cNvPr>
            <p:cNvSpPr/>
            <p:nvPr/>
          </p:nvSpPr>
          <p:spPr>
            <a:xfrm>
              <a:off x="8135816" y="4119639"/>
              <a:ext cx="914400" cy="1063166"/>
            </a:xfrm>
            <a:prstGeom prst="ellipse">
              <a:avLst/>
            </a:prstGeom>
            <a:solidFill>
              <a:srgbClr val="22B14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619;p36">
              <a:extLst>
                <a:ext uri="{FF2B5EF4-FFF2-40B4-BE49-F238E27FC236}">
                  <a16:creationId xmlns:a16="http://schemas.microsoft.com/office/drawing/2014/main" id="{34D66CD2-BB5B-E80D-89AC-3CEA698193DA}"/>
                </a:ext>
              </a:extLst>
            </p:cNvPr>
            <p:cNvSpPr/>
            <p:nvPr/>
          </p:nvSpPr>
          <p:spPr>
            <a:xfrm>
              <a:off x="6705600" y="4651222"/>
              <a:ext cx="914400" cy="1063166"/>
            </a:xfrm>
            <a:prstGeom prst="ellipse">
              <a:avLst/>
            </a:prstGeom>
            <a:solidFill>
              <a:srgbClr val="00A2E8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620;p36">
              <a:extLst>
                <a:ext uri="{FF2B5EF4-FFF2-40B4-BE49-F238E27FC236}">
                  <a16:creationId xmlns:a16="http://schemas.microsoft.com/office/drawing/2014/main" id="{8544BD5C-5639-4EB4-E57A-E082F6B49F46}"/>
                </a:ext>
              </a:extLst>
            </p:cNvPr>
            <p:cNvSpPr/>
            <p:nvPr/>
          </p:nvSpPr>
          <p:spPr>
            <a:xfrm>
              <a:off x="5105400" y="4498142"/>
              <a:ext cx="914400" cy="1063166"/>
            </a:xfrm>
            <a:prstGeom prst="ellipse">
              <a:avLst/>
            </a:prstGeom>
            <a:solidFill>
              <a:srgbClr val="FF7F27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8" name="Google Shape;621;p36">
            <a:extLst>
              <a:ext uri="{FF2B5EF4-FFF2-40B4-BE49-F238E27FC236}">
                <a16:creationId xmlns:a16="http://schemas.microsoft.com/office/drawing/2014/main" id="{F58BB963-451A-DD87-3620-FAC5160155A2}"/>
              </a:ext>
            </a:extLst>
          </p:cNvPr>
          <p:cNvPicPr preferRelativeResize="0"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618708">
            <a:off x="3338549" y="3162327"/>
            <a:ext cx="1410163" cy="1558349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9" name="Table 15">
            <a:extLst>
              <a:ext uri="{FF2B5EF4-FFF2-40B4-BE49-F238E27FC236}">
                <a16:creationId xmlns:a16="http://schemas.microsoft.com/office/drawing/2014/main" id="{050AE860-A8F3-4F58-F88D-CF622BFC24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1758148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563447F1-7CE5-4B1A-AB37-02F69638D64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4392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951849-5E8F-386B-FC13-D0D789B1C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30;p37">
            <a:extLst>
              <a:ext uri="{FF2B5EF4-FFF2-40B4-BE49-F238E27FC236}">
                <a16:creationId xmlns:a16="http://schemas.microsoft.com/office/drawing/2014/main" id="{9DA1C6F9-F959-D967-C0FB-81BA7F352628}"/>
              </a:ext>
            </a:extLst>
          </p:cNvPr>
          <p:cNvSpPr txBox="1"/>
          <p:nvPr/>
        </p:nvSpPr>
        <p:spPr>
          <a:xfrm>
            <a:off x="1117600" y="561260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ثنان. 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" name="Google Shape;632;p37">
            <a:extLst>
              <a:ext uri="{FF2B5EF4-FFF2-40B4-BE49-F238E27FC236}">
                <a16:creationId xmlns:a16="http://schemas.microsoft.com/office/drawing/2014/main" id="{F20A2024-E094-1E5E-84ED-6B9046AE5920}"/>
              </a:ext>
            </a:extLst>
          </p:cNvPr>
          <p:cNvGrpSpPr/>
          <p:nvPr/>
        </p:nvGrpSpPr>
        <p:grpSpPr>
          <a:xfrm>
            <a:off x="3403600" y="2057400"/>
            <a:ext cx="2629877" cy="1752192"/>
            <a:chOff x="5105400" y="3086100"/>
            <a:chExt cx="3944816" cy="2628288"/>
          </a:xfrm>
        </p:grpSpPr>
        <p:sp>
          <p:nvSpPr>
            <p:cNvPr id="4" name="Google Shape;633;p37">
              <a:extLst>
                <a:ext uri="{FF2B5EF4-FFF2-40B4-BE49-F238E27FC236}">
                  <a16:creationId xmlns:a16="http://schemas.microsoft.com/office/drawing/2014/main" id="{93B7B65E-90E5-7D48-266F-232E001E565B}"/>
                </a:ext>
              </a:extLst>
            </p:cNvPr>
            <p:cNvSpPr/>
            <p:nvPr/>
          </p:nvSpPr>
          <p:spPr>
            <a:xfrm>
              <a:off x="6652846" y="3086100"/>
              <a:ext cx="914400" cy="1063166"/>
            </a:xfrm>
            <a:prstGeom prst="ellipse">
              <a:avLst/>
            </a:prstGeom>
            <a:solidFill>
              <a:srgbClr val="3F48C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634;p37">
              <a:extLst>
                <a:ext uri="{FF2B5EF4-FFF2-40B4-BE49-F238E27FC236}">
                  <a16:creationId xmlns:a16="http://schemas.microsoft.com/office/drawing/2014/main" id="{55D2D320-9426-588A-BFA7-C7363D441D88}"/>
                </a:ext>
              </a:extLst>
            </p:cNvPr>
            <p:cNvSpPr/>
            <p:nvPr/>
          </p:nvSpPr>
          <p:spPr>
            <a:xfrm>
              <a:off x="8135816" y="4119639"/>
              <a:ext cx="914400" cy="1063166"/>
            </a:xfrm>
            <a:prstGeom prst="ellipse">
              <a:avLst/>
            </a:prstGeom>
            <a:solidFill>
              <a:srgbClr val="22B14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635;p37">
              <a:extLst>
                <a:ext uri="{FF2B5EF4-FFF2-40B4-BE49-F238E27FC236}">
                  <a16:creationId xmlns:a16="http://schemas.microsoft.com/office/drawing/2014/main" id="{FCE6C341-72F6-2741-0C1B-27C94816AB9B}"/>
                </a:ext>
              </a:extLst>
            </p:cNvPr>
            <p:cNvSpPr/>
            <p:nvPr/>
          </p:nvSpPr>
          <p:spPr>
            <a:xfrm>
              <a:off x="6705600" y="4651222"/>
              <a:ext cx="914400" cy="1063166"/>
            </a:xfrm>
            <a:prstGeom prst="ellipse">
              <a:avLst/>
            </a:prstGeom>
            <a:solidFill>
              <a:srgbClr val="00A2E8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636;p37">
              <a:extLst>
                <a:ext uri="{FF2B5EF4-FFF2-40B4-BE49-F238E27FC236}">
                  <a16:creationId xmlns:a16="http://schemas.microsoft.com/office/drawing/2014/main" id="{6F128C16-B44E-06C6-FB83-E91E0469A1FD}"/>
                </a:ext>
              </a:extLst>
            </p:cNvPr>
            <p:cNvSpPr/>
            <p:nvPr/>
          </p:nvSpPr>
          <p:spPr>
            <a:xfrm>
              <a:off x="5105400" y="4498142"/>
              <a:ext cx="914400" cy="1063166"/>
            </a:xfrm>
            <a:prstGeom prst="ellipse">
              <a:avLst/>
            </a:prstGeom>
            <a:solidFill>
              <a:srgbClr val="FF7F27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8" name="Google Shape;637;p37">
            <a:extLst>
              <a:ext uri="{FF2B5EF4-FFF2-40B4-BE49-F238E27FC236}">
                <a16:creationId xmlns:a16="http://schemas.microsoft.com/office/drawing/2014/main" id="{394A149B-A074-2461-4507-39D852C69A23}"/>
              </a:ext>
            </a:extLst>
          </p:cNvPr>
          <p:cNvPicPr preferRelativeResize="0"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714367">
            <a:off x="4639885" y="3053045"/>
            <a:ext cx="1410163" cy="151309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9" name="Table 15">
            <a:extLst>
              <a:ext uri="{FF2B5EF4-FFF2-40B4-BE49-F238E27FC236}">
                <a16:creationId xmlns:a16="http://schemas.microsoft.com/office/drawing/2014/main" id="{782D61B4-53FC-E94F-5847-0FF163A657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4148747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6207DCA3-83E7-9EF0-662F-DF83118B42F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3245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7990339-1C2F-FA1A-4711-5E7E3745E1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46;p38">
            <a:extLst>
              <a:ext uri="{FF2B5EF4-FFF2-40B4-BE49-F238E27FC236}">
                <a16:creationId xmlns:a16="http://schemas.microsoft.com/office/drawing/2014/main" id="{DB7515D5-47B8-3B8F-4EEF-5557443278EC}"/>
              </a:ext>
            </a:extLst>
          </p:cNvPr>
          <p:cNvSpPr txBox="1"/>
          <p:nvPr/>
        </p:nvSpPr>
        <p:spPr>
          <a:xfrm>
            <a:off x="1117600" y="563002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ثلاثة. 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" name="Google Shape;648;p38">
            <a:extLst>
              <a:ext uri="{FF2B5EF4-FFF2-40B4-BE49-F238E27FC236}">
                <a16:creationId xmlns:a16="http://schemas.microsoft.com/office/drawing/2014/main" id="{FEED35F7-C857-B9A1-0514-4E3B03C0075E}"/>
              </a:ext>
            </a:extLst>
          </p:cNvPr>
          <p:cNvGrpSpPr/>
          <p:nvPr/>
        </p:nvGrpSpPr>
        <p:grpSpPr>
          <a:xfrm>
            <a:off x="3403600" y="2057400"/>
            <a:ext cx="2629877" cy="1752192"/>
            <a:chOff x="5105400" y="3086100"/>
            <a:chExt cx="3944816" cy="2628288"/>
          </a:xfrm>
        </p:grpSpPr>
        <p:sp>
          <p:nvSpPr>
            <p:cNvPr id="4" name="Google Shape;649;p38">
              <a:extLst>
                <a:ext uri="{FF2B5EF4-FFF2-40B4-BE49-F238E27FC236}">
                  <a16:creationId xmlns:a16="http://schemas.microsoft.com/office/drawing/2014/main" id="{F2FA9475-9655-3E5D-BEDE-05512E9F0940}"/>
                </a:ext>
              </a:extLst>
            </p:cNvPr>
            <p:cNvSpPr/>
            <p:nvPr/>
          </p:nvSpPr>
          <p:spPr>
            <a:xfrm>
              <a:off x="6652846" y="3086100"/>
              <a:ext cx="914400" cy="1063166"/>
            </a:xfrm>
            <a:prstGeom prst="ellipse">
              <a:avLst/>
            </a:prstGeom>
            <a:solidFill>
              <a:srgbClr val="3F48C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650;p38">
              <a:extLst>
                <a:ext uri="{FF2B5EF4-FFF2-40B4-BE49-F238E27FC236}">
                  <a16:creationId xmlns:a16="http://schemas.microsoft.com/office/drawing/2014/main" id="{5E3DA2CE-E7B8-46C1-F4E8-24B5ADE3E966}"/>
                </a:ext>
              </a:extLst>
            </p:cNvPr>
            <p:cNvSpPr/>
            <p:nvPr/>
          </p:nvSpPr>
          <p:spPr>
            <a:xfrm>
              <a:off x="8135816" y="4119639"/>
              <a:ext cx="914400" cy="1063166"/>
            </a:xfrm>
            <a:prstGeom prst="ellipse">
              <a:avLst/>
            </a:prstGeom>
            <a:solidFill>
              <a:srgbClr val="22B14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651;p38">
              <a:extLst>
                <a:ext uri="{FF2B5EF4-FFF2-40B4-BE49-F238E27FC236}">
                  <a16:creationId xmlns:a16="http://schemas.microsoft.com/office/drawing/2014/main" id="{6385AA59-4091-E6D9-9BFE-012BDC1A0236}"/>
                </a:ext>
              </a:extLst>
            </p:cNvPr>
            <p:cNvSpPr/>
            <p:nvPr/>
          </p:nvSpPr>
          <p:spPr>
            <a:xfrm>
              <a:off x="6705600" y="4651222"/>
              <a:ext cx="914400" cy="1063166"/>
            </a:xfrm>
            <a:prstGeom prst="ellipse">
              <a:avLst/>
            </a:prstGeom>
            <a:solidFill>
              <a:srgbClr val="00A2E8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652;p38">
              <a:extLst>
                <a:ext uri="{FF2B5EF4-FFF2-40B4-BE49-F238E27FC236}">
                  <a16:creationId xmlns:a16="http://schemas.microsoft.com/office/drawing/2014/main" id="{363470FA-6B57-5385-42B7-672422F132DF}"/>
                </a:ext>
              </a:extLst>
            </p:cNvPr>
            <p:cNvSpPr/>
            <p:nvPr/>
          </p:nvSpPr>
          <p:spPr>
            <a:xfrm>
              <a:off x="5105400" y="4498142"/>
              <a:ext cx="914400" cy="1063166"/>
            </a:xfrm>
            <a:prstGeom prst="ellipse">
              <a:avLst/>
            </a:prstGeom>
            <a:solidFill>
              <a:srgbClr val="FF7F27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8" name="Google Shape;621;p36">
            <a:extLst>
              <a:ext uri="{FF2B5EF4-FFF2-40B4-BE49-F238E27FC236}">
                <a16:creationId xmlns:a16="http://schemas.microsoft.com/office/drawing/2014/main" id="{92953181-1DC7-21CF-917F-D502E470A4D0}"/>
              </a:ext>
            </a:extLst>
          </p:cNvPr>
          <p:cNvPicPr preferRelativeResize="0"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618708">
            <a:off x="5472149" y="2796841"/>
            <a:ext cx="1410163" cy="1558349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9" name="Table 15">
            <a:extLst>
              <a:ext uri="{FF2B5EF4-FFF2-40B4-BE49-F238E27FC236}">
                <a16:creationId xmlns:a16="http://schemas.microsoft.com/office/drawing/2014/main" id="{78BD7FCC-B36C-7068-9BEA-D3CF010C53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0334965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883A048D-0B0D-5B00-C4AA-0A4DEED5070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2281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D5A0F1-DF1E-EDD8-BEAD-F7D1F627C1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62;p39">
            <a:extLst>
              <a:ext uri="{FF2B5EF4-FFF2-40B4-BE49-F238E27FC236}">
                <a16:creationId xmlns:a16="http://schemas.microsoft.com/office/drawing/2014/main" id="{F6E02330-B125-8F83-DB80-D928A4F3BC72}"/>
              </a:ext>
            </a:extLst>
          </p:cNvPr>
          <p:cNvSpPr txBox="1"/>
          <p:nvPr/>
        </p:nvSpPr>
        <p:spPr>
          <a:xfrm>
            <a:off x="1117600" y="563002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أربعة. 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" name="Google Shape;664;p39">
            <a:extLst>
              <a:ext uri="{FF2B5EF4-FFF2-40B4-BE49-F238E27FC236}">
                <a16:creationId xmlns:a16="http://schemas.microsoft.com/office/drawing/2014/main" id="{9997F77D-0F01-966B-EC80-242EAFB06E3C}"/>
              </a:ext>
            </a:extLst>
          </p:cNvPr>
          <p:cNvGrpSpPr/>
          <p:nvPr/>
        </p:nvGrpSpPr>
        <p:grpSpPr>
          <a:xfrm>
            <a:off x="3403600" y="2057400"/>
            <a:ext cx="2629877" cy="1752192"/>
            <a:chOff x="5105400" y="3086100"/>
            <a:chExt cx="3944816" cy="2628288"/>
          </a:xfrm>
        </p:grpSpPr>
        <p:sp>
          <p:nvSpPr>
            <p:cNvPr id="4" name="Google Shape;665;p39">
              <a:extLst>
                <a:ext uri="{FF2B5EF4-FFF2-40B4-BE49-F238E27FC236}">
                  <a16:creationId xmlns:a16="http://schemas.microsoft.com/office/drawing/2014/main" id="{C6528839-828E-190A-1BDD-9BDB26102781}"/>
                </a:ext>
              </a:extLst>
            </p:cNvPr>
            <p:cNvSpPr/>
            <p:nvPr/>
          </p:nvSpPr>
          <p:spPr>
            <a:xfrm>
              <a:off x="6652846" y="3086100"/>
              <a:ext cx="914400" cy="1063166"/>
            </a:xfrm>
            <a:prstGeom prst="ellipse">
              <a:avLst/>
            </a:prstGeom>
            <a:solidFill>
              <a:srgbClr val="3F48C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666;p39">
              <a:extLst>
                <a:ext uri="{FF2B5EF4-FFF2-40B4-BE49-F238E27FC236}">
                  <a16:creationId xmlns:a16="http://schemas.microsoft.com/office/drawing/2014/main" id="{C9BFEACC-A1C4-C958-269A-78EAA50525B7}"/>
                </a:ext>
              </a:extLst>
            </p:cNvPr>
            <p:cNvSpPr/>
            <p:nvPr/>
          </p:nvSpPr>
          <p:spPr>
            <a:xfrm>
              <a:off x="8135816" y="4119639"/>
              <a:ext cx="914400" cy="1063166"/>
            </a:xfrm>
            <a:prstGeom prst="ellipse">
              <a:avLst/>
            </a:prstGeom>
            <a:solidFill>
              <a:srgbClr val="22B14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667;p39">
              <a:extLst>
                <a:ext uri="{FF2B5EF4-FFF2-40B4-BE49-F238E27FC236}">
                  <a16:creationId xmlns:a16="http://schemas.microsoft.com/office/drawing/2014/main" id="{0BFCD933-3FBB-9E05-0310-E913E3F6B898}"/>
                </a:ext>
              </a:extLst>
            </p:cNvPr>
            <p:cNvSpPr/>
            <p:nvPr/>
          </p:nvSpPr>
          <p:spPr>
            <a:xfrm>
              <a:off x="6705600" y="4651222"/>
              <a:ext cx="914400" cy="1063166"/>
            </a:xfrm>
            <a:prstGeom prst="ellipse">
              <a:avLst/>
            </a:prstGeom>
            <a:solidFill>
              <a:srgbClr val="00A2E8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668;p39">
              <a:extLst>
                <a:ext uri="{FF2B5EF4-FFF2-40B4-BE49-F238E27FC236}">
                  <a16:creationId xmlns:a16="http://schemas.microsoft.com/office/drawing/2014/main" id="{790793A2-2248-CC40-1B95-4DC7D0B8822D}"/>
                </a:ext>
              </a:extLst>
            </p:cNvPr>
            <p:cNvSpPr/>
            <p:nvPr/>
          </p:nvSpPr>
          <p:spPr>
            <a:xfrm>
              <a:off x="5105400" y="4498142"/>
              <a:ext cx="914400" cy="1063166"/>
            </a:xfrm>
            <a:prstGeom prst="ellipse">
              <a:avLst/>
            </a:prstGeom>
            <a:solidFill>
              <a:srgbClr val="FF7F27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8" name="Google Shape;621;p36">
            <a:extLst>
              <a:ext uri="{FF2B5EF4-FFF2-40B4-BE49-F238E27FC236}">
                <a16:creationId xmlns:a16="http://schemas.microsoft.com/office/drawing/2014/main" id="{EB81FB40-0580-ECD4-8045-169E1DCD9877}"/>
              </a:ext>
            </a:extLst>
          </p:cNvPr>
          <p:cNvPicPr preferRelativeResize="0"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618708">
            <a:off x="4425720" y="2083325"/>
            <a:ext cx="1410163" cy="1558349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9" name="Table 15">
            <a:extLst>
              <a:ext uri="{FF2B5EF4-FFF2-40B4-BE49-F238E27FC236}">
                <a16:creationId xmlns:a16="http://schemas.microsoft.com/office/drawing/2014/main" id="{DD88883D-A0F3-5AB6-9232-31F2D8539C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0676209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04704123-CCBB-AA1C-DCAE-7D62BC00B43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84467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C39448E-57EB-93E0-10BD-D0711C8F14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78;p40">
            <a:extLst>
              <a:ext uri="{FF2B5EF4-FFF2-40B4-BE49-F238E27FC236}">
                <a16:creationId xmlns:a16="http://schemas.microsoft.com/office/drawing/2014/main" id="{5E6A785A-CC9D-F14B-0157-8B16990F3815}"/>
              </a:ext>
            </a:extLst>
          </p:cNvPr>
          <p:cNvSpPr txBox="1"/>
          <p:nvPr/>
        </p:nvSpPr>
        <p:spPr>
          <a:xfrm>
            <a:off x="1117600" y="569813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أربعة. 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" name="Google Shape;680;p40">
            <a:extLst>
              <a:ext uri="{FF2B5EF4-FFF2-40B4-BE49-F238E27FC236}">
                <a16:creationId xmlns:a16="http://schemas.microsoft.com/office/drawing/2014/main" id="{63615E80-D2BC-C7D9-6158-E5E7E1B5217C}"/>
              </a:ext>
            </a:extLst>
          </p:cNvPr>
          <p:cNvGrpSpPr/>
          <p:nvPr/>
        </p:nvGrpSpPr>
        <p:grpSpPr>
          <a:xfrm>
            <a:off x="3403600" y="2057400"/>
            <a:ext cx="2629877" cy="1752192"/>
            <a:chOff x="5105400" y="3086100"/>
            <a:chExt cx="3944816" cy="2628288"/>
          </a:xfrm>
        </p:grpSpPr>
        <p:sp>
          <p:nvSpPr>
            <p:cNvPr id="4" name="Google Shape;681;p40">
              <a:extLst>
                <a:ext uri="{FF2B5EF4-FFF2-40B4-BE49-F238E27FC236}">
                  <a16:creationId xmlns:a16="http://schemas.microsoft.com/office/drawing/2014/main" id="{703489B4-C128-1B8A-B012-2F500B38A96E}"/>
                </a:ext>
              </a:extLst>
            </p:cNvPr>
            <p:cNvSpPr/>
            <p:nvPr/>
          </p:nvSpPr>
          <p:spPr>
            <a:xfrm>
              <a:off x="6652846" y="3086100"/>
              <a:ext cx="914400" cy="1063166"/>
            </a:xfrm>
            <a:prstGeom prst="ellipse">
              <a:avLst/>
            </a:prstGeom>
            <a:solidFill>
              <a:srgbClr val="3F48C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682;p40">
              <a:extLst>
                <a:ext uri="{FF2B5EF4-FFF2-40B4-BE49-F238E27FC236}">
                  <a16:creationId xmlns:a16="http://schemas.microsoft.com/office/drawing/2014/main" id="{BF8F89CA-F5C8-5F02-E88D-3C0238080132}"/>
                </a:ext>
              </a:extLst>
            </p:cNvPr>
            <p:cNvSpPr/>
            <p:nvPr/>
          </p:nvSpPr>
          <p:spPr>
            <a:xfrm>
              <a:off x="8135816" y="4119639"/>
              <a:ext cx="914400" cy="1063166"/>
            </a:xfrm>
            <a:prstGeom prst="ellipse">
              <a:avLst/>
            </a:prstGeom>
            <a:solidFill>
              <a:srgbClr val="22B14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683;p40">
              <a:extLst>
                <a:ext uri="{FF2B5EF4-FFF2-40B4-BE49-F238E27FC236}">
                  <a16:creationId xmlns:a16="http://schemas.microsoft.com/office/drawing/2014/main" id="{A0910086-0174-FBAC-811F-3C5B8B31AD31}"/>
                </a:ext>
              </a:extLst>
            </p:cNvPr>
            <p:cNvSpPr/>
            <p:nvPr/>
          </p:nvSpPr>
          <p:spPr>
            <a:xfrm>
              <a:off x="6705600" y="4651222"/>
              <a:ext cx="914400" cy="1063166"/>
            </a:xfrm>
            <a:prstGeom prst="ellipse">
              <a:avLst/>
            </a:prstGeom>
            <a:solidFill>
              <a:srgbClr val="00A2E8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684;p40">
              <a:extLst>
                <a:ext uri="{FF2B5EF4-FFF2-40B4-BE49-F238E27FC236}">
                  <a16:creationId xmlns:a16="http://schemas.microsoft.com/office/drawing/2014/main" id="{69BC51B0-44C2-9EA8-7E86-74AC065E7775}"/>
                </a:ext>
              </a:extLst>
            </p:cNvPr>
            <p:cNvSpPr/>
            <p:nvPr/>
          </p:nvSpPr>
          <p:spPr>
            <a:xfrm>
              <a:off x="5105400" y="4498142"/>
              <a:ext cx="914400" cy="1063166"/>
            </a:xfrm>
            <a:prstGeom prst="ellipse">
              <a:avLst/>
            </a:prstGeom>
            <a:solidFill>
              <a:srgbClr val="FF7F27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" name="Google Shape;685;p40">
            <a:extLst>
              <a:ext uri="{FF2B5EF4-FFF2-40B4-BE49-F238E27FC236}">
                <a16:creationId xmlns:a16="http://schemas.microsoft.com/office/drawing/2014/main" id="{938B939D-6C4A-66C0-5655-1740C088041D}"/>
              </a:ext>
            </a:extLst>
          </p:cNvPr>
          <p:cNvSpPr/>
          <p:nvPr/>
        </p:nvSpPr>
        <p:spPr>
          <a:xfrm>
            <a:off x="3031221" y="1875494"/>
            <a:ext cx="3417619" cy="2450642"/>
          </a:xfrm>
          <a:prstGeom prst="ellipse">
            <a:avLst/>
          </a:prstGeom>
          <a:noFill/>
          <a:ln w="57150" cap="flat" cmpd="sng">
            <a:solidFill>
              <a:srgbClr val="38562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9" name="Table 15">
            <a:extLst>
              <a:ext uri="{FF2B5EF4-FFF2-40B4-BE49-F238E27FC236}">
                <a16:creationId xmlns:a16="http://schemas.microsoft.com/office/drawing/2014/main" id="{5033B8A8-1259-DB47-7E0B-9C4CE15996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5904402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1CEEF77E-AAEF-D04B-6F51-194026D61D7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92195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9BD1E9D-C46B-8285-6AD9-491B29D16A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06;p42">
            <a:extLst>
              <a:ext uri="{FF2B5EF4-FFF2-40B4-BE49-F238E27FC236}">
                <a16:creationId xmlns:a16="http://schemas.microsoft.com/office/drawing/2014/main" id="{6FE7F892-54C4-350F-8A4C-1252F4D44414}"/>
              </a:ext>
            </a:extLst>
          </p:cNvPr>
          <p:cNvSpPr txBox="1"/>
          <p:nvPr/>
        </p:nvSpPr>
        <p:spPr>
          <a:xfrm>
            <a:off x="736600" y="573832"/>
            <a:ext cx="7721600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مثلوا العدد 4 بالأصابع هكذا. </a:t>
            </a:r>
            <a:endParaRPr dirty="0"/>
          </a:p>
          <a:p>
            <a:pPr algn="r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رفع المدرس يده ويري المتعلمين أصابعه الأربعة 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" name="Google Shape;708;p42">
            <a:extLst>
              <a:ext uri="{FF2B5EF4-FFF2-40B4-BE49-F238E27FC236}">
                <a16:creationId xmlns:a16="http://schemas.microsoft.com/office/drawing/2014/main" id="{A75F65A5-68DF-AC38-BF96-38C97634A733}"/>
              </a:ext>
            </a:extLst>
          </p:cNvPr>
          <p:cNvGrpSpPr/>
          <p:nvPr/>
        </p:nvGrpSpPr>
        <p:grpSpPr>
          <a:xfrm>
            <a:off x="4597400" y="2270605"/>
            <a:ext cx="2647759" cy="1615975"/>
            <a:chOff x="5105400" y="3086100"/>
            <a:chExt cx="3944816" cy="2628288"/>
          </a:xfrm>
        </p:grpSpPr>
        <p:sp>
          <p:nvSpPr>
            <p:cNvPr id="4" name="Google Shape;709;p42">
              <a:extLst>
                <a:ext uri="{FF2B5EF4-FFF2-40B4-BE49-F238E27FC236}">
                  <a16:creationId xmlns:a16="http://schemas.microsoft.com/office/drawing/2014/main" id="{3119F253-4A42-05F5-6F27-37EBF0D81660}"/>
                </a:ext>
              </a:extLst>
            </p:cNvPr>
            <p:cNvSpPr/>
            <p:nvPr/>
          </p:nvSpPr>
          <p:spPr>
            <a:xfrm>
              <a:off x="6652846" y="3086100"/>
              <a:ext cx="914400" cy="1063166"/>
            </a:xfrm>
            <a:prstGeom prst="ellipse">
              <a:avLst/>
            </a:prstGeom>
            <a:solidFill>
              <a:srgbClr val="3F48C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710;p42">
              <a:extLst>
                <a:ext uri="{FF2B5EF4-FFF2-40B4-BE49-F238E27FC236}">
                  <a16:creationId xmlns:a16="http://schemas.microsoft.com/office/drawing/2014/main" id="{927E7180-E08B-13D9-64CA-30E47CB467E1}"/>
                </a:ext>
              </a:extLst>
            </p:cNvPr>
            <p:cNvSpPr/>
            <p:nvPr/>
          </p:nvSpPr>
          <p:spPr>
            <a:xfrm>
              <a:off x="8135816" y="4119639"/>
              <a:ext cx="914400" cy="1063166"/>
            </a:xfrm>
            <a:prstGeom prst="ellipse">
              <a:avLst/>
            </a:prstGeom>
            <a:solidFill>
              <a:srgbClr val="22B14C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711;p42">
              <a:extLst>
                <a:ext uri="{FF2B5EF4-FFF2-40B4-BE49-F238E27FC236}">
                  <a16:creationId xmlns:a16="http://schemas.microsoft.com/office/drawing/2014/main" id="{4C80B680-E49F-E285-FBAF-5A900678742F}"/>
                </a:ext>
              </a:extLst>
            </p:cNvPr>
            <p:cNvSpPr/>
            <p:nvPr/>
          </p:nvSpPr>
          <p:spPr>
            <a:xfrm>
              <a:off x="6705600" y="4651222"/>
              <a:ext cx="914400" cy="1063166"/>
            </a:xfrm>
            <a:prstGeom prst="ellipse">
              <a:avLst/>
            </a:prstGeom>
            <a:solidFill>
              <a:srgbClr val="00A2E8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712;p42">
              <a:extLst>
                <a:ext uri="{FF2B5EF4-FFF2-40B4-BE49-F238E27FC236}">
                  <a16:creationId xmlns:a16="http://schemas.microsoft.com/office/drawing/2014/main" id="{0A5C03F0-FD8E-71F3-5A63-2C3467E65012}"/>
                </a:ext>
              </a:extLst>
            </p:cNvPr>
            <p:cNvSpPr/>
            <p:nvPr/>
          </p:nvSpPr>
          <p:spPr>
            <a:xfrm>
              <a:off x="5105400" y="4498142"/>
              <a:ext cx="914400" cy="1063166"/>
            </a:xfrm>
            <a:prstGeom prst="ellipse">
              <a:avLst/>
            </a:prstGeom>
            <a:solidFill>
              <a:srgbClr val="FF7F27"/>
            </a:solidFill>
            <a:ln w="12700" cap="flat" cmpd="sng">
              <a:solidFill>
                <a:srgbClr val="1C305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0950" tIns="30467" rIns="60950" bIns="30467" anchor="ctr" anchorCtr="0">
              <a:noAutofit/>
            </a:bodyPr>
            <a:lstStyle/>
            <a:p>
              <a:pPr algn="ctr"/>
              <a:endParaRPr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8" name="Google Shape;713;p42">
            <a:extLst>
              <a:ext uri="{FF2B5EF4-FFF2-40B4-BE49-F238E27FC236}">
                <a16:creationId xmlns:a16="http://schemas.microsoft.com/office/drawing/2014/main" id="{B0048A40-ED29-5EC1-49BC-C6FEA9D7E780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08112" y="1477988"/>
            <a:ext cx="2381459" cy="350983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714;p42">
            <a:extLst>
              <a:ext uri="{FF2B5EF4-FFF2-40B4-BE49-F238E27FC236}">
                <a16:creationId xmlns:a16="http://schemas.microsoft.com/office/drawing/2014/main" id="{C4185EEE-D267-B197-8CD6-EC8F8B0107DB}"/>
              </a:ext>
            </a:extLst>
          </p:cNvPr>
          <p:cNvSpPr/>
          <p:nvPr/>
        </p:nvSpPr>
        <p:spPr>
          <a:xfrm>
            <a:off x="4215717" y="1709318"/>
            <a:ext cx="3454400" cy="3149349"/>
          </a:xfrm>
          <a:prstGeom prst="ellipse">
            <a:avLst/>
          </a:prstGeom>
          <a:noFill/>
          <a:ln w="57150" cap="flat" cmpd="sng">
            <a:solidFill>
              <a:srgbClr val="38562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10" name="Table 15">
            <a:extLst>
              <a:ext uri="{FF2B5EF4-FFF2-40B4-BE49-F238E27FC236}">
                <a16:creationId xmlns:a16="http://schemas.microsoft.com/office/drawing/2014/main" id="{FBACEFCB-6632-22C8-7F43-026D72F95C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2993716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11" name="Image 10">
            <a:extLst>
              <a:ext uri="{FF2B5EF4-FFF2-40B4-BE49-F238E27FC236}">
                <a16:creationId xmlns:a16="http://schemas.microsoft.com/office/drawing/2014/main" id="{9E009404-77BB-F909-D54C-DEE504E95CA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3" y="564882"/>
            <a:ext cx="1224769" cy="875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31959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616A31-8702-FFB7-1A1E-518BB5E736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23;p43">
            <a:extLst>
              <a:ext uri="{FF2B5EF4-FFF2-40B4-BE49-F238E27FC236}">
                <a16:creationId xmlns:a16="http://schemas.microsoft.com/office/drawing/2014/main" id="{D6038FEB-59FC-EA42-6F59-A02DFDE81716}"/>
              </a:ext>
            </a:extLst>
          </p:cNvPr>
          <p:cNvSpPr txBox="1"/>
          <p:nvPr/>
        </p:nvSpPr>
        <p:spPr>
          <a:xfrm>
            <a:off x="1260587" y="561392"/>
            <a:ext cx="715263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 أخيرا أعد </a:t>
            </a:r>
            <a:r>
              <a:rPr lang="ar-MA" b="1" dirty="0" err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لخشيبات</a:t>
            </a:r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endParaRPr b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" name="Google Shape;725;p43">
            <a:extLst>
              <a:ext uri="{FF2B5EF4-FFF2-40B4-BE49-F238E27FC236}">
                <a16:creationId xmlns:a16="http://schemas.microsoft.com/office/drawing/2014/main" id="{F2AAD057-D89D-1875-2F6E-43572A455628}"/>
              </a:ext>
            </a:extLst>
          </p:cNvPr>
          <p:cNvGrpSpPr/>
          <p:nvPr/>
        </p:nvGrpSpPr>
        <p:grpSpPr>
          <a:xfrm rot="-1710118">
            <a:off x="1758354" y="2607709"/>
            <a:ext cx="5627293" cy="1306455"/>
            <a:chOff x="2792445" y="3624663"/>
            <a:chExt cx="8440940" cy="1959682"/>
          </a:xfrm>
        </p:grpSpPr>
        <p:grpSp>
          <p:nvGrpSpPr>
            <p:cNvPr id="4" name="Google Shape;726;p43">
              <a:extLst>
                <a:ext uri="{FF2B5EF4-FFF2-40B4-BE49-F238E27FC236}">
                  <a16:creationId xmlns:a16="http://schemas.microsoft.com/office/drawing/2014/main" id="{A66A2720-23AA-C456-8D90-684AEEF2D3AF}"/>
                </a:ext>
              </a:extLst>
            </p:cNvPr>
            <p:cNvGrpSpPr/>
            <p:nvPr/>
          </p:nvGrpSpPr>
          <p:grpSpPr>
            <a:xfrm>
              <a:off x="2799199" y="3624663"/>
              <a:ext cx="4212000" cy="252000"/>
              <a:chOff x="2899386" y="3566977"/>
              <a:chExt cx="6059123" cy="355998"/>
            </a:xfrm>
          </p:grpSpPr>
          <p:grpSp>
            <p:nvGrpSpPr>
              <p:cNvPr id="25" name="Google Shape;727;p43">
                <a:extLst>
                  <a:ext uri="{FF2B5EF4-FFF2-40B4-BE49-F238E27FC236}">
                    <a16:creationId xmlns:a16="http://schemas.microsoft.com/office/drawing/2014/main" id="{F4975F66-C9A2-6636-CCBC-3EE5E611359D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27" name="Google Shape;728;p43">
                  <a:extLst>
                    <a:ext uri="{FF2B5EF4-FFF2-40B4-BE49-F238E27FC236}">
                      <a16:creationId xmlns:a16="http://schemas.microsoft.com/office/drawing/2014/main" id="{6B7098F7-4A0F-2E8E-E247-E92500602C39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729;p43">
                  <a:extLst>
                    <a:ext uri="{FF2B5EF4-FFF2-40B4-BE49-F238E27FC236}">
                      <a16:creationId xmlns:a16="http://schemas.microsoft.com/office/drawing/2014/main" id="{A1975AC1-59C9-19DD-B3CD-62625629E97B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6" name="Google Shape;730;p43">
                <a:extLst>
                  <a:ext uri="{FF2B5EF4-FFF2-40B4-BE49-F238E27FC236}">
                    <a16:creationId xmlns:a16="http://schemas.microsoft.com/office/drawing/2014/main" id="{7BC2C374-2940-BB8B-BE5E-DC974DD66005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5" name="Google Shape;731;p43">
              <a:extLst>
                <a:ext uri="{FF2B5EF4-FFF2-40B4-BE49-F238E27FC236}">
                  <a16:creationId xmlns:a16="http://schemas.microsoft.com/office/drawing/2014/main" id="{728C8811-2401-97F5-2E1C-B1A0733E2891}"/>
                </a:ext>
              </a:extLst>
            </p:cNvPr>
            <p:cNvGrpSpPr/>
            <p:nvPr/>
          </p:nvGrpSpPr>
          <p:grpSpPr>
            <a:xfrm>
              <a:off x="2809386" y="4519041"/>
              <a:ext cx="4212000" cy="255895"/>
              <a:chOff x="2899386" y="3566977"/>
              <a:chExt cx="6059123" cy="361501"/>
            </a:xfrm>
          </p:grpSpPr>
          <p:grpSp>
            <p:nvGrpSpPr>
              <p:cNvPr id="21" name="Google Shape;732;p43">
                <a:extLst>
                  <a:ext uri="{FF2B5EF4-FFF2-40B4-BE49-F238E27FC236}">
                    <a16:creationId xmlns:a16="http://schemas.microsoft.com/office/drawing/2014/main" id="{9C9B39D4-ACB4-04BF-D847-3CCFAD8C139E}"/>
                  </a:ext>
                </a:extLst>
              </p:cNvPr>
              <p:cNvGrpSpPr/>
              <p:nvPr/>
            </p:nvGrpSpPr>
            <p:grpSpPr>
              <a:xfrm>
                <a:off x="2989588" y="3566977"/>
                <a:ext cx="5968921" cy="361501"/>
                <a:chOff x="2989588" y="3566977"/>
                <a:chExt cx="5968921" cy="361501"/>
              </a:xfrm>
            </p:grpSpPr>
            <p:sp>
              <p:nvSpPr>
                <p:cNvPr id="23" name="Google Shape;733;p43">
                  <a:extLst>
                    <a:ext uri="{FF2B5EF4-FFF2-40B4-BE49-F238E27FC236}">
                      <a16:creationId xmlns:a16="http://schemas.microsoft.com/office/drawing/2014/main" id="{CC41C0C0-BAEF-F23D-901A-EF4DEA451054}"/>
                    </a:ext>
                  </a:extLst>
                </p:cNvPr>
                <p:cNvSpPr/>
                <p:nvPr/>
              </p:nvSpPr>
              <p:spPr>
                <a:xfrm>
                  <a:off x="2989588" y="3581930"/>
                  <a:ext cx="5908430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" name="Google Shape;734;p43">
                  <a:extLst>
                    <a:ext uri="{FF2B5EF4-FFF2-40B4-BE49-F238E27FC236}">
                      <a16:creationId xmlns:a16="http://schemas.microsoft.com/office/drawing/2014/main" id="{6F09F002-950B-6215-2262-534096F6F0D5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2" name="Google Shape;735;p43">
                <a:extLst>
                  <a:ext uri="{FF2B5EF4-FFF2-40B4-BE49-F238E27FC236}">
                    <a16:creationId xmlns:a16="http://schemas.microsoft.com/office/drawing/2014/main" id="{550E0B3D-F775-EAFD-0E7F-35C3583C58CF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" name="Google Shape;736;p43">
              <a:extLst>
                <a:ext uri="{FF2B5EF4-FFF2-40B4-BE49-F238E27FC236}">
                  <a16:creationId xmlns:a16="http://schemas.microsoft.com/office/drawing/2014/main" id="{AC808ED0-8412-8BAA-6BE0-7AA3C1301111}"/>
                </a:ext>
              </a:extLst>
            </p:cNvPr>
            <p:cNvGrpSpPr/>
            <p:nvPr/>
          </p:nvGrpSpPr>
          <p:grpSpPr>
            <a:xfrm>
              <a:off x="2792445" y="5332345"/>
              <a:ext cx="4212000" cy="252000"/>
              <a:chOff x="2899386" y="3566977"/>
              <a:chExt cx="6059123" cy="355998"/>
            </a:xfrm>
          </p:grpSpPr>
          <p:grpSp>
            <p:nvGrpSpPr>
              <p:cNvPr id="17" name="Google Shape;737;p43">
                <a:extLst>
                  <a:ext uri="{FF2B5EF4-FFF2-40B4-BE49-F238E27FC236}">
                    <a16:creationId xmlns:a16="http://schemas.microsoft.com/office/drawing/2014/main" id="{7EF6662F-91BF-14D7-C8FE-2F41E741AD3A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9" name="Google Shape;738;p43">
                  <a:extLst>
                    <a:ext uri="{FF2B5EF4-FFF2-40B4-BE49-F238E27FC236}">
                      <a16:creationId xmlns:a16="http://schemas.microsoft.com/office/drawing/2014/main" id="{F90F5854-DDF9-DA06-265D-E0DB087422A0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" name="Google Shape;739;p43">
                  <a:extLst>
                    <a:ext uri="{FF2B5EF4-FFF2-40B4-BE49-F238E27FC236}">
                      <a16:creationId xmlns:a16="http://schemas.microsoft.com/office/drawing/2014/main" id="{30B3D6C0-739C-0DE9-DA78-B799B3496FD9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8" name="Google Shape;740;p43">
                <a:extLst>
                  <a:ext uri="{FF2B5EF4-FFF2-40B4-BE49-F238E27FC236}">
                    <a16:creationId xmlns:a16="http://schemas.microsoft.com/office/drawing/2014/main" id="{AE38613E-5441-3129-620F-EFF5FB238166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" name="Google Shape;741;p43">
              <a:extLst>
                <a:ext uri="{FF2B5EF4-FFF2-40B4-BE49-F238E27FC236}">
                  <a16:creationId xmlns:a16="http://schemas.microsoft.com/office/drawing/2014/main" id="{0BFF263F-CB7F-F182-A12D-FE1273BE4058}"/>
                </a:ext>
              </a:extLst>
            </p:cNvPr>
            <p:cNvGrpSpPr/>
            <p:nvPr/>
          </p:nvGrpSpPr>
          <p:grpSpPr>
            <a:xfrm>
              <a:off x="7021385" y="4070646"/>
              <a:ext cx="4212000" cy="252000"/>
              <a:chOff x="2899386" y="3566977"/>
              <a:chExt cx="6059123" cy="355998"/>
            </a:xfrm>
          </p:grpSpPr>
          <p:grpSp>
            <p:nvGrpSpPr>
              <p:cNvPr id="13" name="Google Shape;742;p43">
                <a:extLst>
                  <a:ext uri="{FF2B5EF4-FFF2-40B4-BE49-F238E27FC236}">
                    <a16:creationId xmlns:a16="http://schemas.microsoft.com/office/drawing/2014/main" id="{D3B8114B-6E09-7CEA-7A12-AC09B90730F4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5" name="Google Shape;743;p43">
                  <a:extLst>
                    <a:ext uri="{FF2B5EF4-FFF2-40B4-BE49-F238E27FC236}">
                      <a16:creationId xmlns:a16="http://schemas.microsoft.com/office/drawing/2014/main" id="{00E3BC91-E2BA-E7EA-CBFD-668FD35D7D58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" name="Google Shape;744;p43">
                  <a:extLst>
                    <a:ext uri="{FF2B5EF4-FFF2-40B4-BE49-F238E27FC236}">
                      <a16:creationId xmlns:a16="http://schemas.microsoft.com/office/drawing/2014/main" id="{E036EA3F-11EA-FF26-6710-23843F4386DC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4" name="Google Shape;745;p43">
                <a:extLst>
                  <a:ext uri="{FF2B5EF4-FFF2-40B4-BE49-F238E27FC236}">
                    <a16:creationId xmlns:a16="http://schemas.microsoft.com/office/drawing/2014/main" id="{B822E066-C70C-6178-57D1-87C126295C3B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" name="Google Shape;746;p43">
              <a:extLst>
                <a:ext uri="{FF2B5EF4-FFF2-40B4-BE49-F238E27FC236}">
                  <a16:creationId xmlns:a16="http://schemas.microsoft.com/office/drawing/2014/main" id="{1D87BFE8-761D-80B4-25A1-D09D170F0127}"/>
                </a:ext>
              </a:extLst>
            </p:cNvPr>
            <p:cNvGrpSpPr/>
            <p:nvPr/>
          </p:nvGrpSpPr>
          <p:grpSpPr>
            <a:xfrm>
              <a:off x="7004445" y="4970375"/>
              <a:ext cx="4212000" cy="252000"/>
              <a:chOff x="2899386" y="3566977"/>
              <a:chExt cx="6059123" cy="355998"/>
            </a:xfrm>
          </p:grpSpPr>
          <p:grpSp>
            <p:nvGrpSpPr>
              <p:cNvPr id="9" name="Google Shape;747;p43">
                <a:extLst>
                  <a:ext uri="{FF2B5EF4-FFF2-40B4-BE49-F238E27FC236}">
                    <a16:creationId xmlns:a16="http://schemas.microsoft.com/office/drawing/2014/main" id="{57A2A765-C47C-4059-83C2-750E63197B0B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1" name="Google Shape;748;p43">
                  <a:extLst>
                    <a:ext uri="{FF2B5EF4-FFF2-40B4-BE49-F238E27FC236}">
                      <a16:creationId xmlns:a16="http://schemas.microsoft.com/office/drawing/2014/main" id="{7FF56C3F-BD3E-218B-A104-8690E98B271C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2" name="Google Shape;749;p43">
                  <a:extLst>
                    <a:ext uri="{FF2B5EF4-FFF2-40B4-BE49-F238E27FC236}">
                      <a16:creationId xmlns:a16="http://schemas.microsoft.com/office/drawing/2014/main" id="{18D66777-6A5C-EE9A-AA84-720D6DB49A4B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0" name="Google Shape;750;p43">
                <a:extLst>
                  <a:ext uri="{FF2B5EF4-FFF2-40B4-BE49-F238E27FC236}">
                    <a16:creationId xmlns:a16="http://schemas.microsoft.com/office/drawing/2014/main" id="{D4CDACDB-A3B1-C230-9180-CFFA23247B1E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aphicFrame>
        <p:nvGraphicFramePr>
          <p:cNvPr id="29" name="Table 15">
            <a:extLst>
              <a:ext uri="{FF2B5EF4-FFF2-40B4-BE49-F238E27FC236}">
                <a16:creationId xmlns:a16="http://schemas.microsoft.com/office/drawing/2014/main" id="{B022C11A-82EA-51BA-FA57-6DC5E742A1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3319909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30" name="Image 29">
            <a:extLst>
              <a:ext uri="{FF2B5EF4-FFF2-40B4-BE49-F238E27FC236}">
                <a16:creationId xmlns:a16="http://schemas.microsoft.com/office/drawing/2014/main" id="{0ADE1365-0669-6B98-A9C7-83E7EAB41DA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5315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AFC4CB7-0F26-A067-AFE5-4EFC928C62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59;p44">
            <a:extLst>
              <a:ext uri="{FF2B5EF4-FFF2-40B4-BE49-F238E27FC236}">
                <a16:creationId xmlns:a16="http://schemas.microsoft.com/office/drawing/2014/main" id="{85B58018-D840-7D0E-418D-DAB79F7E0BFA}"/>
              </a:ext>
            </a:extLst>
          </p:cNvPr>
          <p:cNvSpPr txBox="1"/>
          <p:nvPr/>
        </p:nvSpPr>
        <p:spPr>
          <a:xfrm>
            <a:off x="1106172" y="468832"/>
            <a:ext cx="7315199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واحد.</a:t>
            </a:r>
            <a:endParaRPr dirty="0"/>
          </a:p>
          <a:p>
            <a:pPr algn="r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ضع المدرس أصبعه على كل </a:t>
            </a:r>
            <a:r>
              <a:rPr lang="ar-MA" i="1" dirty="0" err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خشيبة</a:t>
            </a:r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 يعدها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" name="Google Shape;761;p44">
            <a:extLst>
              <a:ext uri="{FF2B5EF4-FFF2-40B4-BE49-F238E27FC236}">
                <a16:creationId xmlns:a16="http://schemas.microsoft.com/office/drawing/2014/main" id="{49A45FC6-9DFB-592E-6D63-14B2B57A50DC}"/>
              </a:ext>
            </a:extLst>
          </p:cNvPr>
          <p:cNvGrpSpPr/>
          <p:nvPr/>
        </p:nvGrpSpPr>
        <p:grpSpPr>
          <a:xfrm rot="-1710118">
            <a:off x="1758354" y="2607709"/>
            <a:ext cx="5627293" cy="1306455"/>
            <a:chOff x="2792445" y="3624663"/>
            <a:chExt cx="8440940" cy="1959682"/>
          </a:xfrm>
        </p:grpSpPr>
        <p:grpSp>
          <p:nvGrpSpPr>
            <p:cNvPr id="4" name="Google Shape;762;p44">
              <a:extLst>
                <a:ext uri="{FF2B5EF4-FFF2-40B4-BE49-F238E27FC236}">
                  <a16:creationId xmlns:a16="http://schemas.microsoft.com/office/drawing/2014/main" id="{9CB392E3-DCBC-3DA6-AF1A-C9D3289CD864}"/>
                </a:ext>
              </a:extLst>
            </p:cNvPr>
            <p:cNvGrpSpPr/>
            <p:nvPr/>
          </p:nvGrpSpPr>
          <p:grpSpPr>
            <a:xfrm>
              <a:off x="2799199" y="3624663"/>
              <a:ext cx="4212000" cy="252000"/>
              <a:chOff x="2899386" y="3566977"/>
              <a:chExt cx="6059123" cy="355998"/>
            </a:xfrm>
          </p:grpSpPr>
          <p:grpSp>
            <p:nvGrpSpPr>
              <p:cNvPr id="25" name="Google Shape;763;p44">
                <a:extLst>
                  <a:ext uri="{FF2B5EF4-FFF2-40B4-BE49-F238E27FC236}">
                    <a16:creationId xmlns:a16="http://schemas.microsoft.com/office/drawing/2014/main" id="{2F910A35-54DC-3600-998F-67418094706B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27" name="Google Shape;764;p44">
                  <a:extLst>
                    <a:ext uri="{FF2B5EF4-FFF2-40B4-BE49-F238E27FC236}">
                      <a16:creationId xmlns:a16="http://schemas.microsoft.com/office/drawing/2014/main" id="{F103642B-B7B1-F7B6-BDA3-75AF897D69BB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765;p44">
                  <a:extLst>
                    <a:ext uri="{FF2B5EF4-FFF2-40B4-BE49-F238E27FC236}">
                      <a16:creationId xmlns:a16="http://schemas.microsoft.com/office/drawing/2014/main" id="{F7B40D7B-B855-3545-350E-7C9B21A5E2D3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6" name="Google Shape;766;p44">
                <a:extLst>
                  <a:ext uri="{FF2B5EF4-FFF2-40B4-BE49-F238E27FC236}">
                    <a16:creationId xmlns:a16="http://schemas.microsoft.com/office/drawing/2014/main" id="{6E2BB9BC-AEC4-C000-85BC-C2A3D4BAFBDA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5" name="Google Shape;767;p44">
              <a:extLst>
                <a:ext uri="{FF2B5EF4-FFF2-40B4-BE49-F238E27FC236}">
                  <a16:creationId xmlns:a16="http://schemas.microsoft.com/office/drawing/2014/main" id="{125BD45C-810D-9E5A-B518-A1BBEF388E34}"/>
                </a:ext>
              </a:extLst>
            </p:cNvPr>
            <p:cNvGrpSpPr/>
            <p:nvPr/>
          </p:nvGrpSpPr>
          <p:grpSpPr>
            <a:xfrm>
              <a:off x="2809386" y="4519041"/>
              <a:ext cx="4212000" cy="255895"/>
              <a:chOff x="2899386" y="3566977"/>
              <a:chExt cx="6059123" cy="361501"/>
            </a:xfrm>
          </p:grpSpPr>
          <p:grpSp>
            <p:nvGrpSpPr>
              <p:cNvPr id="21" name="Google Shape;768;p44">
                <a:extLst>
                  <a:ext uri="{FF2B5EF4-FFF2-40B4-BE49-F238E27FC236}">
                    <a16:creationId xmlns:a16="http://schemas.microsoft.com/office/drawing/2014/main" id="{7D8E4ACC-AF5E-7B94-EB53-BDF88D85F0A4}"/>
                  </a:ext>
                </a:extLst>
              </p:cNvPr>
              <p:cNvGrpSpPr/>
              <p:nvPr/>
            </p:nvGrpSpPr>
            <p:grpSpPr>
              <a:xfrm>
                <a:off x="2989588" y="3566977"/>
                <a:ext cx="5968921" cy="361501"/>
                <a:chOff x="2989588" y="3566977"/>
                <a:chExt cx="5968921" cy="361501"/>
              </a:xfrm>
            </p:grpSpPr>
            <p:sp>
              <p:nvSpPr>
                <p:cNvPr id="23" name="Google Shape;769;p44">
                  <a:extLst>
                    <a:ext uri="{FF2B5EF4-FFF2-40B4-BE49-F238E27FC236}">
                      <a16:creationId xmlns:a16="http://schemas.microsoft.com/office/drawing/2014/main" id="{6F481A62-A21B-50A5-3350-425E5C77CB69}"/>
                    </a:ext>
                  </a:extLst>
                </p:cNvPr>
                <p:cNvSpPr/>
                <p:nvPr/>
              </p:nvSpPr>
              <p:spPr>
                <a:xfrm>
                  <a:off x="2989588" y="3581930"/>
                  <a:ext cx="5908430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" name="Google Shape;770;p44">
                  <a:extLst>
                    <a:ext uri="{FF2B5EF4-FFF2-40B4-BE49-F238E27FC236}">
                      <a16:creationId xmlns:a16="http://schemas.microsoft.com/office/drawing/2014/main" id="{60D8A8F3-2A92-E236-EDF3-08AFDCAF7165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2" name="Google Shape;771;p44">
                <a:extLst>
                  <a:ext uri="{FF2B5EF4-FFF2-40B4-BE49-F238E27FC236}">
                    <a16:creationId xmlns:a16="http://schemas.microsoft.com/office/drawing/2014/main" id="{767A5E29-4130-6354-1026-A209E79D1881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" name="Google Shape;772;p44">
              <a:extLst>
                <a:ext uri="{FF2B5EF4-FFF2-40B4-BE49-F238E27FC236}">
                  <a16:creationId xmlns:a16="http://schemas.microsoft.com/office/drawing/2014/main" id="{55EC6A41-6D0A-62A0-5BE2-B1C03A410B78}"/>
                </a:ext>
              </a:extLst>
            </p:cNvPr>
            <p:cNvGrpSpPr/>
            <p:nvPr/>
          </p:nvGrpSpPr>
          <p:grpSpPr>
            <a:xfrm>
              <a:off x="2792445" y="5332345"/>
              <a:ext cx="4212000" cy="252000"/>
              <a:chOff x="2899386" y="3566977"/>
              <a:chExt cx="6059123" cy="355998"/>
            </a:xfrm>
          </p:grpSpPr>
          <p:grpSp>
            <p:nvGrpSpPr>
              <p:cNvPr id="17" name="Google Shape;773;p44">
                <a:extLst>
                  <a:ext uri="{FF2B5EF4-FFF2-40B4-BE49-F238E27FC236}">
                    <a16:creationId xmlns:a16="http://schemas.microsoft.com/office/drawing/2014/main" id="{7E1CDD64-9C08-9D2E-CE85-98D77DFF32E8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9" name="Google Shape;774;p44">
                  <a:extLst>
                    <a:ext uri="{FF2B5EF4-FFF2-40B4-BE49-F238E27FC236}">
                      <a16:creationId xmlns:a16="http://schemas.microsoft.com/office/drawing/2014/main" id="{793C4255-81DE-C99E-22D8-2887A26B252C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" name="Google Shape;775;p44">
                  <a:extLst>
                    <a:ext uri="{FF2B5EF4-FFF2-40B4-BE49-F238E27FC236}">
                      <a16:creationId xmlns:a16="http://schemas.microsoft.com/office/drawing/2014/main" id="{74E51FE6-5852-D68D-5F57-E3494A12858A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8" name="Google Shape;776;p44">
                <a:extLst>
                  <a:ext uri="{FF2B5EF4-FFF2-40B4-BE49-F238E27FC236}">
                    <a16:creationId xmlns:a16="http://schemas.microsoft.com/office/drawing/2014/main" id="{6CAF2423-6518-3E29-FE8F-190D0817ED8C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" name="Google Shape;777;p44">
              <a:extLst>
                <a:ext uri="{FF2B5EF4-FFF2-40B4-BE49-F238E27FC236}">
                  <a16:creationId xmlns:a16="http://schemas.microsoft.com/office/drawing/2014/main" id="{A52D96E3-5D07-E698-4763-54EB8A74CC16}"/>
                </a:ext>
              </a:extLst>
            </p:cNvPr>
            <p:cNvGrpSpPr/>
            <p:nvPr/>
          </p:nvGrpSpPr>
          <p:grpSpPr>
            <a:xfrm>
              <a:off x="7021385" y="4070646"/>
              <a:ext cx="4212000" cy="252000"/>
              <a:chOff x="2899386" y="3566977"/>
              <a:chExt cx="6059123" cy="355998"/>
            </a:xfrm>
          </p:grpSpPr>
          <p:grpSp>
            <p:nvGrpSpPr>
              <p:cNvPr id="13" name="Google Shape;778;p44">
                <a:extLst>
                  <a:ext uri="{FF2B5EF4-FFF2-40B4-BE49-F238E27FC236}">
                    <a16:creationId xmlns:a16="http://schemas.microsoft.com/office/drawing/2014/main" id="{9F19AA92-DCAD-488C-7E86-B030D7FA0E72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5" name="Google Shape;779;p44">
                  <a:extLst>
                    <a:ext uri="{FF2B5EF4-FFF2-40B4-BE49-F238E27FC236}">
                      <a16:creationId xmlns:a16="http://schemas.microsoft.com/office/drawing/2014/main" id="{DD0C5702-EE9D-B990-EEB6-FD3850A3C280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" name="Google Shape;780;p44">
                  <a:extLst>
                    <a:ext uri="{FF2B5EF4-FFF2-40B4-BE49-F238E27FC236}">
                      <a16:creationId xmlns:a16="http://schemas.microsoft.com/office/drawing/2014/main" id="{1674369A-21B4-8EF1-8509-76FF9616537A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4" name="Google Shape;781;p44">
                <a:extLst>
                  <a:ext uri="{FF2B5EF4-FFF2-40B4-BE49-F238E27FC236}">
                    <a16:creationId xmlns:a16="http://schemas.microsoft.com/office/drawing/2014/main" id="{50F9C451-9128-958F-56F4-F6423D5CDA0C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" name="Google Shape;782;p44">
              <a:extLst>
                <a:ext uri="{FF2B5EF4-FFF2-40B4-BE49-F238E27FC236}">
                  <a16:creationId xmlns:a16="http://schemas.microsoft.com/office/drawing/2014/main" id="{2D4D1CF1-7197-165A-1D66-54E7D943FE5C}"/>
                </a:ext>
              </a:extLst>
            </p:cNvPr>
            <p:cNvGrpSpPr/>
            <p:nvPr/>
          </p:nvGrpSpPr>
          <p:grpSpPr>
            <a:xfrm>
              <a:off x="7004445" y="4970375"/>
              <a:ext cx="4212000" cy="252000"/>
              <a:chOff x="2899386" y="3566977"/>
              <a:chExt cx="6059123" cy="355998"/>
            </a:xfrm>
          </p:grpSpPr>
          <p:grpSp>
            <p:nvGrpSpPr>
              <p:cNvPr id="9" name="Google Shape;783;p44">
                <a:extLst>
                  <a:ext uri="{FF2B5EF4-FFF2-40B4-BE49-F238E27FC236}">
                    <a16:creationId xmlns:a16="http://schemas.microsoft.com/office/drawing/2014/main" id="{32103B64-243C-7DC3-F9D1-757A7B858AF1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1" name="Google Shape;784;p44">
                  <a:extLst>
                    <a:ext uri="{FF2B5EF4-FFF2-40B4-BE49-F238E27FC236}">
                      <a16:creationId xmlns:a16="http://schemas.microsoft.com/office/drawing/2014/main" id="{2F44060D-B96A-49D2-B2F0-4CF109972059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2" name="Google Shape;785;p44">
                  <a:extLst>
                    <a:ext uri="{FF2B5EF4-FFF2-40B4-BE49-F238E27FC236}">
                      <a16:creationId xmlns:a16="http://schemas.microsoft.com/office/drawing/2014/main" id="{5DADCC00-A0D4-3FF8-CACC-F2F3366EF8D4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0" name="Google Shape;786;p44">
                <a:extLst>
                  <a:ext uri="{FF2B5EF4-FFF2-40B4-BE49-F238E27FC236}">
                    <a16:creationId xmlns:a16="http://schemas.microsoft.com/office/drawing/2014/main" id="{7832C18A-FB67-B932-C1AB-0085B98ADC24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" name="Google Shape;621;p36">
            <a:extLst>
              <a:ext uri="{FF2B5EF4-FFF2-40B4-BE49-F238E27FC236}">
                <a16:creationId xmlns:a16="http://schemas.microsoft.com/office/drawing/2014/main" id="{91235A74-E15C-C156-2454-EFBB1896DD6A}"/>
              </a:ext>
            </a:extLst>
          </p:cNvPr>
          <p:cNvPicPr preferRelativeResize="0"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618708">
            <a:off x="3290419" y="4002078"/>
            <a:ext cx="1410163" cy="1558349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0" name="Table 15">
            <a:extLst>
              <a:ext uri="{FF2B5EF4-FFF2-40B4-BE49-F238E27FC236}">
                <a16:creationId xmlns:a16="http://schemas.microsoft.com/office/drawing/2014/main" id="{3102623A-4896-58E6-37E5-D7E8D0794E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741718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31" name="Image 30">
            <a:extLst>
              <a:ext uri="{FF2B5EF4-FFF2-40B4-BE49-F238E27FC236}">
                <a16:creationId xmlns:a16="http://schemas.microsoft.com/office/drawing/2014/main" id="{50F71796-2B88-911F-0EA4-2D733ECB207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4387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D4D9A63-5F2D-6AFF-4076-B151EFE90B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96;p45">
            <a:extLst>
              <a:ext uri="{FF2B5EF4-FFF2-40B4-BE49-F238E27FC236}">
                <a16:creationId xmlns:a16="http://schemas.microsoft.com/office/drawing/2014/main" id="{93EE32E2-45DE-0308-FCEC-919B915C4475}"/>
              </a:ext>
            </a:extLst>
          </p:cNvPr>
          <p:cNvSpPr txBox="1"/>
          <p:nvPr/>
        </p:nvSpPr>
        <p:spPr>
          <a:xfrm>
            <a:off x="1106172" y="553677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ثنان.</a:t>
            </a:r>
            <a:endParaRPr dirty="0"/>
          </a:p>
        </p:txBody>
      </p:sp>
      <p:grpSp>
        <p:nvGrpSpPr>
          <p:cNvPr id="3" name="Google Shape;798;p45">
            <a:extLst>
              <a:ext uri="{FF2B5EF4-FFF2-40B4-BE49-F238E27FC236}">
                <a16:creationId xmlns:a16="http://schemas.microsoft.com/office/drawing/2014/main" id="{84B23DF2-672E-432F-29C6-2036EAE50364}"/>
              </a:ext>
            </a:extLst>
          </p:cNvPr>
          <p:cNvGrpSpPr/>
          <p:nvPr/>
        </p:nvGrpSpPr>
        <p:grpSpPr>
          <a:xfrm rot="-1710118">
            <a:off x="1758354" y="2607709"/>
            <a:ext cx="5627293" cy="1306455"/>
            <a:chOff x="2792445" y="3624663"/>
            <a:chExt cx="8440940" cy="1959682"/>
          </a:xfrm>
        </p:grpSpPr>
        <p:grpSp>
          <p:nvGrpSpPr>
            <p:cNvPr id="4" name="Google Shape;799;p45">
              <a:extLst>
                <a:ext uri="{FF2B5EF4-FFF2-40B4-BE49-F238E27FC236}">
                  <a16:creationId xmlns:a16="http://schemas.microsoft.com/office/drawing/2014/main" id="{A288DAE0-4DA0-F491-A243-3F82DE640FDF}"/>
                </a:ext>
              </a:extLst>
            </p:cNvPr>
            <p:cNvGrpSpPr/>
            <p:nvPr/>
          </p:nvGrpSpPr>
          <p:grpSpPr>
            <a:xfrm>
              <a:off x="2799199" y="3624663"/>
              <a:ext cx="4212000" cy="252000"/>
              <a:chOff x="2899386" y="3566977"/>
              <a:chExt cx="6059123" cy="355998"/>
            </a:xfrm>
          </p:grpSpPr>
          <p:grpSp>
            <p:nvGrpSpPr>
              <p:cNvPr id="25" name="Google Shape;800;p45">
                <a:extLst>
                  <a:ext uri="{FF2B5EF4-FFF2-40B4-BE49-F238E27FC236}">
                    <a16:creationId xmlns:a16="http://schemas.microsoft.com/office/drawing/2014/main" id="{1CD83342-F6DD-3383-B0C0-55E49C8D0F82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27" name="Google Shape;801;p45">
                  <a:extLst>
                    <a:ext uri="{FF2B5EF4-FFF2-40B4-BE49-F238E27FC236}">
                      <a16:creationId xmlns:a16="http://schemas.microsoft.com/office/drawing/2014/main" id="{CD7B55D2-5907-A696-CF66-A0E0358AEFD6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802;p45">
                  <a:extLst>
                    <a:ext uri="{FF2B5EF4-FFF2-40B4-BE49-F238E27FC236}">
                      <a16:creationId xmlns:a16="http://schemas.microsoft.com/office/drawing/2014/main" id="{5922F6D8-1C6D-32E1-59D0-2C00606ED1EE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6" name="Google Shape;803;p45">
                <a:extLst>
                  <a:ext uri="{FF2B5EF4-FFF2-40B4-BE49-F238E27FC236}">
                    <a16:creationId xmlns:a16="http://schemas.microsoft.com/office/drawing/2014/main" id="{329CFBE0-04BF-B44E-30A3-CEA883A5073B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5" name="Google Shape;804;p45">
              <a:extLst>
                <a:ext uri="{FF2B5EF4-FFF2-40B4-BE49-F238E27FC236}">
                  <a16:creationId xmlns:a16="http://schemas.microsoft.com/office/drawing/2014/main" id="{ABF9CBE8-CD66-6F48-CEA0-7597D602D483}"/>
                </a:ext>
              </a:extLst>
            </p:cNvPr>
            <p:cNvGrpSpPr/>
            <p:nvPr/>
          </p:nvGrpSpPr>
          <p:grpSpPr>
            <a:xfrm>
              <a:off x="2809386" y="4519041"/>
              <a:ext cx="4212000" cy="255895"/>
              <a:chOff x="2899386" y="3566977"/>
              <a:chExt cx="6059123" cy="361501"/>
            </a:xfrm>
          </p:grpSpPr>
          <p:grpSp>
            <p:nvGrpSpPr>
              <p:cNvPr id="21" name="Google Shape;805;p45">
                <a:extLst>
                  <a:ext uri="{FF2B5EF4-FFF2-40B4-BE49-F238E27FC236}">
                    <a16:creationId xmlns:a16="http://schemas.microsoft.com/office/drawing/2014/main" id="{09D4DB52-4DD3-3723-05B8-7E1981A1C2FF}"/>
                  </a:ext>
                </a:extLst>
              </p:cNvPr>
              <p:cNvGrpSpPr/>
              <p:nvPr/>
            </p:nvGrpSpPr>
            <p:grpSpPr>
              <a:xfrm>
                <a:off x="2989588" y="3566977"/>
                <a:ext cx="5968921" cy="361501"/>
                <a:chOff x="2989588" y="3566977"/>
                <a:chExt cx="5968921" cy="361501"/>
              </a:xfrm>
            </p:grpSpPr>
            <p:sp>
              <p:nvSpPr>
                <p:cNvPr id="23" name="Google Shape;806;p45">
                  <a:extLst>
                    <a:ext uri="{FF2B5EF4-FFF2-40B4-BE49-F238E27FC236}">
                      <a16:creationId xmlns:a16="http://schemas.microsoft.com/office/drawing/2014/main" id="{BD235F34-E620-D55A-807E-BFD3A2E3722E}"/>
                    </a:ext>
                  </a:extLst>
                </p:cNvPr>
                <p:cNvSpPr/>
                <p:nvPr/>
              </p:nvSpPr>
              <p:spPr>
                <a:xfrm>
                  <a:off x="2989588" y="3581930"/>
                  <a:ext cx="5908430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" name="Google Shape;807;p45">
                  <a:extLst>
                    <a:ext uri="{FF2B5EF4-FFF2-40B4-BE49-F238E27FC236}">
                      <a16:creationId xmlns:a16="http://schemas.microsoft.com/office/drawing/2014/main" id="{7DE6CD62-617A-484C-7628-06D4CB25A240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2" name="Google Shape;808;p45">
                <a:extLst>
                  <a:ext uri="{FF2B5EF4-FFF2-40B4-BE49-F238E27FC236}">
                    <a16:creationId xmlns:a16="http://schemas.microsoft.com/office/drawing/2014/main" id="{14EFCA43-5350-4A2C-5108-0536E9D73724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" name="Google Shape;809;p45">
              <a:extLst>
                <a:ext uri="{FF2B5EF4-FFF2-40B4-BE49-F238E27FC236}">
                  <a16:creationId xmlns:a16="http://schemas.microsoft.com/office/drawing/2014/main" id="{46A9F859-996F-85E0-496F-C8D41C9A7311}"/>
                </a:ext>
              </a:extLst>
            </p:cNvPr>
            <p:cNvGrpSpPr/>
            <p:nvPr/>
          </p:nvGrpSpPr>
          <p:grpSpPr>
            <a:xfrm>
              <a:off x="2792445" y="5332345"/>
              <a:ext cx="4212000" cy="252000"/>
              <a:chOff x="2899386" y="3566977"/>
              <a:chExt cx="6059123" cy="355998"/>
            </a:xfrm>
          </p:grpSpPr>
          <p:grpSp>
            <p:nvGrpSpPr>
              <p:cNvPr id="17" name="Google Shape;810;p45">
                <a:extLst>
                  <a:ext uri="{FF2B5EF4-FFF2-40B4-BE49-F238E27FC236}">
                    <a16:creationId xmlns:a16="http://schemas.microsoft.com/office/drawing/2014/main" id="{EC815C08-EA34-E436-7A6E-06F544CE75CD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9" name="Google Shape;811;p45">
                  <a:extLst>
                    <a:ext uri="{FF2B5EF4-FFF2-40B4-BE49-F238E27FC236}">
                      <a16:creationId xmlns:a16="http://schemas.microsoft.com/office/drawing/2014/main" id="{6015C8A4-F2F9-5EA2-55F3-BCBAFF684D93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" name="Google Shape;812;p45">
                  <a:extLst>
                    <a:ext uri="{FF2B5EF4-FFF2-40B4-BE49-F238E27FC236}">
                      <a16:creationId xmlns:a16="http://schemas.microsoft.com/office/drawing/2014/main" id="{EF945849-A592-CD55-6ABB-2A9FB60CDD76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8" name="Google Shape;813;p45">
                <a:extLst>
                  <a:ext uri="{FF2B5EF4-FFF2-40B4-BE49-F238E27FC236}">
                    <a16:creationId xmlns:a16="http://schemas.microsoft.com/office/drawing/2014/main" id="{645D3F22-7377-2528-B787-F76E0FBD4F13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" name="Google Shape;814;p45">
              <a:extLst>
                <a:ext uri="{FF2B5EF4-FFF2-40B4-BE49-F238E27FC236}">
                  <a16:creationId xmlns:a16="http://schemas.microsoft.com/office/drawing/2014/main" id="{C1D49FB6-54F9-EECC-BDC7-31FE6A569E46}"/>
                </a:ext>
              </a:extLst>
            </p:cNvPr>
            <p:cNvGrpSpPr/>
            <p:nvPr/>
          </p:nvGrpSpPr>
          <p:grpSpPr>
            <a:xfrm>
              <a:off x="7021385" y="4070646"/>
              <a:ext cx="4212000" cy="252000"/>
              <a:chOff x="2899386" y="3566977"/>
              <a:chExt cx="6059123" cy="355998"/>
            </a:xfrm>
          </p:grpSpPr>
          <p:grpSp>
            <p:nvGrpSpPr>
              <p:cNvPr id="13" name="Google Shape;815;p45">
                <a:extLst>
                  <a:ext uri="{FF2B5EF4-FFF2-40B4-BE49-F238E27FC236}">
                    <a16:creationId xmlns:a16="http://schemas.microsoft.com/office/drawing/2014/main" id="{C7CC2D8A-C968-3A36-58C6-6254E0C9817F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5" name="Google Shape;816;p45">
                  <a:extLst>
                    <a:ext uri="{FF2B5EF4-FFF2-40B4-BE49-F238E27FC236}">
                      <a16:creationId xmlns:a16="http://schemas.microsoft.com/office/drawing/2014/main" id="{64A946CA-567D-5E4E-977F-A5096F6DE3DE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" name="Google Shape;817;p45">
                  <a:extLst>
                    <a:ext uri="{FF2B5EF4-FFF2-40B4-BE49-F238E27FC236}">
                      <a16:creationId xmlns:a16="http://schemas.microsoft.com/office/drawing/2014/main" id="{EBE0CE8E-0153-1D26-080A-22C38E14D4FA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4" name="Google Shape;818;p45">
                <a:extLst>
                  <a:ext uri="{FF2B5EF4-FFF2-40B4-BE49-F238E27FC236}">
                    <a16:creationId xmlns:a16="http://schemas.microsoft.com/office/drawing/2014/main" id="{661430F0-C8C2-8187-C73C-C4BCB5195CE4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" name="Google Shape;819;p45">
              <a:extLst>
                <a:ext uri="{FF2B5EF4-FFF2-40B4-BE49-F238E27FC236}">
                  <a16:creationId xmlns:a16="http://schemas.microsoft.com/office/drawing/2014/main" id="{39049FFF-A102-0201-CC9E-8AA17CBCC2D6}"/>
                </a:ext>
              </a:extLst>
            </p:cNvPr>
            <p:cNvGrpSpPr/>
            <p:nvPr/>
          </p:nvGrpSpPr>
          <p:grpSpPr>
            <a:xfrm>
              <a:off x="7004445" y="4970375"/>
              <a:ext cx="4212000" cy="252000"/>
              <a:chOff x="2899386" y="3566977"/>
              <a:chExt cx="6059123" cy="355998"/>
            </a:xfrm>
          </p:grpSpPr>
          <p:grpSp>
            <p:nvGrpSpPr>
              <p:cNvPr id="9" name="Google Shape;820;p45">
                <a:extLst>
                  <a:ext uri="{FF2B5EF4-FFF2-40B4-BE49-F238E27FC236}">
                    <a16:creationId xmlns:a16="http://schemas.microsoft.com/office/drawing/2014/main" id="{C0172EA6-A1A8-7E41-A761-174A84819A09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1" name="Google Shape;821;p45">
                  <a:extLst>
                    <a:ext uri="{FF2B5EF4-FFF2-40B4-BE49-F238E27FC236}">
                      <a16:creationId xmlns:a16="http://schemas.microsoft.com/office/drawing/2014/main" id="{5842FBA2-4802-1C72-0AD0-23A05423818D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2" name="Google Shape;822;p45">
                  <a:extLst>
                    <a:ext uri="{FF2B5EF4-FFF2-40B4-BE49-F238E27FC236}">
                      <a16:creationId xmlns:a16="http://schemas.microsoft.com/office/drawing/2014/main" id="{B6703F68-395B-76B8-F9D4-851BBAAB107F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0" name="Google Shape;823;p45">
                <a:extLst>
                  <a:ext uri="{FF2B5EF4-FFF2-40B4-BE49-F238E27FC236}">
                    <a16:creationId xmlns:a16="http://schemas.microsoft.com/office/drawing/2014/main" id="{6D61D114-5888-61E1-366D-B535D7D13B29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" name="Google Shape;824;p45">
            <a:extLst>
              <a:ext uri="{FF2B5EF4-FFF2-40B4-BE49-F238E27FC236}">
                <a16:creationId xmlns:a16="http://schemas.microsoft.com/office/drawing/2014/main" id="{9435973F-69B5-8F06-DA1A-716B340FFAB8}"/>
              </a:ext>
            </a:extLst>
          </p:cNvPr>
          <p:cNvPicPr preferRelativeResize="0"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714367">
            <a:off x="3096925" y="3255457"/>
            <a:ext cx="1410163" cy="151309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0" name="Table 15">
            <a:extLst>
              <a:ext uri="{FF2B5EF4-FFF2-40B4-BE49-F238E27FC236}">
                <a16:creationId xmlns:a16="http://schemas.microsoft.com/office/drawing/2014/main" id="{2D847EA7-48CC-6C99-BF6D-C1987EE592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5775532"/>
              </p:ext>
            </p:extLst>
          </p:nvPr>
        </p:nvGraphicFramePr>
        <p:xfrm>
          <a:off x="179512" y="4473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31" name="Image 30">
            <a:extLst>
              <a:ext uri="{FF2B5EF4-FFF2-40B4-BE49-F238E27FC236}">
                <a16:creationId xmlns:a16="http://schemas.microsoft.com/office/drawing/2014/main" id="{1E5E1FC9-31E1-5B61-E94F-32DF69E45A1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2866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005884" y="1556792"/>
            <a:ext cx="7132233" cy="7053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5486"/>
              </a:lnSpc>
              <a:defRPr/>
            </a:pPr>
            <a:r>
              <a:rPr lang="ar-MA" sz="4800" b="1" dirty="0">
                <a:solidFill>
                  <a:srgbClr val="106585"/>
                </a:solidFill>
                <a:latin typeface="Dosis" pitchFamily="2" charset="0"/>
                <a:cs typeface="Calibri" panose="020F0502020204030204" pitchFamily="34" charset="0"/>
              </a:rPr>
              <a:t>درس اليوم</a:t>
            </a: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5D5EC3F9-B576-AAD3-32E6-690B5DFDA61D}"/>
              </a:ext>
            </a:extLst>
          </p:cNvPr>
          <p:cNvSpPr txBox="1"/>
          <p:nvPr/>
        </p:nvSpPr>
        <p:spPr>
          <a:xfrm>
            <a:off x="179513" y="2996952"/>
            <a:ext cx="8784975" cy="662361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ar-MA" sz="3200" b="1" dirty="0">
                <a:solidFill>
                  <a:srgbClr val="3795AF"/>
                </a:solidFill>
                <a:latin typeface="Dosis" pitchFamily="2" charset="0"/>
                <a:cs typeface="Calibri" panose="020F0502020204030204" pitchFamily="34" charset="0"/>
              </a:rPr>
              <a:t>عد عناصر مجموعة من 1 إلى 5.</a:t>
            </a:r>
          </a:p>
        </p:txBody>
      </p:sp>
    </p:spTree>
    <p:extLst>
      <p:ext uri="{BB962C8B-B14F-4D97-AF65-F5344CB8AC3E}">
        <p14:creationId xmlns:p14="http://schemas.microsoft.com/office/powerpoint/2010/main" val="30226461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2B32448-F769-D15D-CC6F-BD8DD0867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33;p46">
            <a:extLst>
              <a:ext uri="{FF2B5EF4-FFF2-40B4-BE49-F238E27FC236}">
                <a16:creationId xmlns:a16="http://schemas.microsoft.com/office/drawing/2014/main" id="{BF95393F-AA1F-9D96-5A1E-6C47B89A64FC}"/>
              </a:ext>
            </a:extLst>
          </p:cNvPr>
          <p:cNvSpPr txBox="1"/>
          <p:nvPr/>
        </p:nvSpPr>
        <p:spPr>
          <a:xfrm>
            <a:off x="1191414" y="563315"/>
            <a:ext cx="7315199" cy="34885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ثلاثة.</a:t>
            </a:r>
            <a:endParaRPr dirty="0"/>
          </a:p>
        </p:txBody>
      </p:sp>
      <p:grpSp>
        <p:nvGrpSpPr>
          <p:cNvPr id="3" name="Google Shape;835;p46">
            <a:extLst>
              <a:ext uri="{FF2B5EF4-FFF2-40B4-BE49-F238E27FC236}">
                <a16:creationId xmlns:a16="http://schemas.microsoft.com/office/drawing/2014/main" id="{2E947DFE-6C19-192D-AD6F-4CEBFE6C9567}"/>
              </a:ext>
            </a:extLst>
          </p:cNvPr>
          <p:cNvGrpSpPr/>
          <p:nvPr/>
        </p:nvGrpSpPr>
        <p:grpSpPr>
          <a:xfrm rot="-1710118">
            <a:off x="1758354" y="2607709"/>
            <a:ext cx="5627293" cy="1306455"/>
            <a:chOff x="2792445" y="3624663"/>
            <a:chExt cx="8440940" cy="1959682"/>
          </a:xfrm>
        </p:grpSpPr>
        <p:grpSp>
          <p:nvGrpSpPr>
            <p:cNvPr id="4" name="Google Shape;836;p46">
              <a:extLst>
                <a:ext uri="{FF2B5EF4-FFF2-40B4-BE49-F238E27FC236}">
                  <a16:creationId xmlns:a16="http://schemas.microsoft.com/office/drawing/2014/main" id="{36FB41D1-E22C-AFAF-4ADA-97938B7A3533}"/>
                </a:ext>
              </a:extLst>
            </p:cNvPr>
            <p:cNvGrpSpPr/>
            <p:nvPr/>
          </p:nvGrpSpPr>
          <p:grpSpPr>
            <a:xfrm>
              <a:off x="2799199" y="3624663"/>
              <a:ext cx="4212000" cy="252000"/>
              <a:chOff x="2899386" y="3566977"/>
              <a:chExt cx="6059123" cy="355998"/>
            </a:xfrm>
          </p:grpSpPr>
          <p:grpSp>
            <p:nvGrpSpPr>
              <p:cNvPr id="25" name="Google Shape;837;p46">
                <a:extLst>
                  <a:ext uri="{FF2B5EF4-FFF2-40B4-BE49-F238E27FC236}">
                    <a16:creationId xmlns:a16="http://schemas.microsoft.com/office/drawing/2014/main" id="{718AF0E5-1F44-72C2-1990-56FA34EB5D53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27" name="Google Shape;838;p46">
                  <a:extLst>
                    <a:ext uri="{FF2B5EF4-FFF2-40B4-BE49-F238E27FC236}">
                      <a16:creationId xmlns:a16="http://schemas.microsoft.com/office/drawing/2014/main" id="{A2B77FDC-1508-5E6A-3E4A-B99A67BD1958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839;p46">
                  <a:extLst>
                    <a:ext uri="{FF2B5EF4-FFF2-40B4-BE49-F238E27FC236}">
                      <a16:creationId xmlns:a16="http://schemas.microsoft.com/office/drawing/2014/main" id="{0C127999-021D-59D1-E751-72C038011E1C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6" name="Google Shape;840;p46">
                <a:extLst>
                  <a:ext uri="{FF2B5EF4-FFF2-40B4-BE49-F238E27FC236}">
                    <a16:creationId xmlns:a16="http://schemas.microsoft.com/office/drawing/2014/main" id="{7C64F7A3-91E5-7629-CE24-2FB8A8352B2E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5" name="Google Shape;841;p46">
              <a:extLst>
                <a:ext uri="{FF2B5EF4-FFF2-40B4-BE49-F238E27FC236}">
                  <a16:creationId xmlns:a16="http://schemas.microsoft.com/office/drawing/2014/main" id="{7F434ADB-A095-0CD8-35FE-BD8FEBA35183}"/>
                </a:ext>
              </a:extLst>
            </p:cNvPr>
            <p:cNvGrpSpPr/>
            <p:nvPr/>
          </p:nvGrpSpPr>
          <p:grpSpPr>
            <a:xfrm>
              <a:off x="2809386" y="4519041"/>
              <a:ext cx="4212000" cy="255895"/>
              <a:chOff x="2899386" y="3566977"/>
              <a:chExt cx="6059123" cy="361501"/>
            </a:xfrm>
          </p:grpSpPr>
          <p:grpSp>
            <p:nvGrpSpPr>
              <p:cNvPr id="21" name="Google Shape;842;p46">
                <a:extLst>
                  <a:ext uri="{FF2B5EF4-FFF2-40B4-BE49-F238E27FC236}">
                    <a16:creationId xmlns:a16="http://schemas.microsoft.com/office/drawing/2014/main" id="{B0E4E6E0-CAC4-8C6D-AE50-C5CEFF4F0651}"/>
                  </a:ext>
                </a:extLst>
              </p:cNvPr>
              <p:cNvGrpSpPr/>
              <p:nvPr/>
            </p:nvGrpSpPr>
            <p:grpSpPr>
              <a:xfrm>
                <a:off x="2989588" y="3566977"/>
                <a:ext cx="5968921" cy="361501"/>
                <a:chOff x="2989588" y="3566977"/>
                <a:chExt cx="5968921" cy="361501"/>
              </a:xfrm>
            </p:grpSpPr>
            <p:sp>
              <p:nvSpPr>
                <p:cNvPr id="23" name="Google Shape;843;p46">
                  <a:extLst>
                    <a:ext uri="{FF2B5EF4-FFF2-40B4-BE49-F238E27FC236}">
                      <a16:creationId xmlns:a16="http://schemas.microsoft.com/office/drawing/2014/main" id="{492983FD-5154-A0FB-0517-066434653556}"/>
                    </a:ext>
                  </a:extLst>
                </p:cNvPr>
                <p:cNvSpPr/>
                <p:nvPr/>
              </p:nvSpPr>
              <p:spPr>
                <a:xfrm>
                  <a:off x="2989588" y="3581930"/>
                  <a:ext cx="5908430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" name="Google Shape;844;p46">
                  <a:extLst>
                    <a:ext uri="{FF2B5EF4-FFF2-40B4-BE49-F238E27FC236}">
                      <a16:creationId xmlns:a16="http://schemas.microsoft.com/office/drawing/2014/main" id="{7DAB2D32-16FF-5C57-F37E-77C0B62EE8FC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2" name="Google Shape;845;p46">
                <a:extLst>
                  <a:ext uri="{FF2B5EF4-FFF2-40B4-BE49-F238E27FC236}">
                    <a16:creationId xmlns:a16="http://schemas.microsoft.com/office/drawing/2014/main" id="{633DFEF3-E66C-F7DF-C280-65A33B48B48F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" name="Google Shape;846;p46">
              <a:extLst>
                <a:ext uri="{FF2B5EF4-FFF2-40B4-BE49-F238E27FC236}">
                  <a16:creationId xmlns:a16="http://schemas.microsoft.com/office/drawing/2014/main" id="{49861FEA-3526-7D74-1AE3-E92B4AB064B7}"/>
                </a:ext>
              </a:extLst>
            </p:cNvPr>
            <p:cNvGrpSpPr/>
            <p:nvPr/>
          </p:nvGrpSpPr>
          <p:grpSpPr>
            <a:xfrm>
              <a:off x="2792445" y="5332345"/>
              <a:ext cx="4212000" cy="252000"/>
              <a:chOff x="2899386" y="3566977"/>
              <a:chExt cx="6059123" cy="355998"/>
            </a:xfrm>
          </p:grpSpPr>
          <p:grpSp>
            <p:nvGrpSpPr>
              <p:cNvPr id="17" name="Google Shape;847;p46">
                <a:extLst>
                  <a:ext uri="{FF2B5EF4-FFF2-40B4-BE49-F238E27FC236}">
                    <a16:creationId xmlns:a16="http://schemas.microsoft.com/office/drawing/2014/main" id="{58538CA3-5BE7-DC6C-A591-A83210553DE1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9" name="Google Shape;848;p46">
                  <a:extLst>
                    <a:ext uri="{FF2B5EF4-FFF2-40B4-BE49-F238E27FC236}">
                      <a16:creationId xmlns:a16="http://schemas.microsoft.com/office/drawing/2014/main" id="{54C8A90A-5933-2B04-BD24-4923E41195B0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" name="Google Shape;849;p46">
                  <a:extLst>
                    <a:ext uri="{FF2B5EF4-FFF2-40B4-BE49-F238E27FC236}">
                      <a16:creationId xmlns:a16="http://schemas.microsoft.com/office/drawing/2014/main" id="{11D01572-E504-93B5-6851-186B6E93AA8A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8" name="Google Shape;850;p46">
                <a:extLst>
                  <a:ext uri="{FF2B5EF4-FFF2-40B4-BE49-F238E27FC236}">
                    <a16:creationId xmlns:a16="http://schemas.microsoft.com/office/drawing/2014/main" id="{D1A34089-1BE3-39E2-7570-640666650473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" name="Google Shape;851;p46">
              <a:extLst>
                <a:ext uri="{FF2B5EF4-FFF2-40B4-BE49-F238E27FC236}">
                  <a16:creationId xmlns:a16="http://schemas.microsoft.com/office/drawing/2014/main" id="{E1D9FD6C-44D1-DA23-FDDB-C29D3ADD4569}"/>
                </a:ext>
              </a:extLst>
            </p:cNvPr>
            <p:cNvGrpSpPr/>
            <p:nvPr/>
          </p:nvGrpSpPr>
          <p:grpSpPr>
            <a:xfrm>
              <a:off x="7021385" y="4070646"/>
              <a:ext cx="4212000" cy="252000"/>
              <a:chOff x="2899386" y="3566977"/>
              <a:chExt cx="6059123" cy="355998"/>
            </a:xfrm>
          </p:grpSpPr>
          <p:grpSp>
            <p:nvGrpSpPr>
              <p:cNvPr id="13" name="Google Shape;852;p46">
                <a:extLst>
                  <a:ext uri="{FF2B5EF4-FFF2-40B4-BE49-F238E27FC236}">
                    <a16:creationId xmlns:a16="http://schemas.microsoft.com/office/drawing/2014/main" id="{B4264734-0D60-9DBC-1196-0BA7D84D7820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5" name="Google Shape;853;p46">
                  <a:extLst>
                    <a:ext uri="{FF2B5EF4-FFF2-40B4-BE49-F238E27FC236}">
                      <a16:creationId xmlns:a16="http://schemas.microsoft.com/office/drawing/2014/main" id="{6325C3F6-ACE4-1414-371A-35C392A18B01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" name="Google Shape;854;p46">
                  <a:extLst>
                    <a:ext uri="{FF2B5EF4-FFF2-40B4-BE49-F238E27FC236}">
                      <a16:creationId xmlns:a16="http://schemas.microsoft.com/office/drawing/2014/main" id="{D580B7C1-1215-FE22-473B-E14D9347474B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4" name="Google Shape;855;p46">
                <a:extLst>
                  <a:ext uri="{FF2B5EF4-FFF2-40B4-BE49-F238E27FC236}">
                    <a16:creationId xmlns:a16="http://schemas.microsoft.com/office/drawing/2014/main" id="{FC8B8BD5-671E-60D3-DE98-A13AF7D3196D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" name="Google Shape;856;p46">
              <a:extLst>
                <a:ext uri="{FF2B5EF4-FFF2-40B4-BE49-F238E27FC236}">
                  <a16:creationId xmlns:a16="http://schemas.microsoft.com/office/drawing/2014/main" id="{B8AE0CAD-FC57-BA68-8D67-F3941DEA136E}"/>
                </a:ext>
              </a:extLst>
            </p:cNvPr>
            <p:cNvGrpSpPr/>
            <p:nvPr/>
          </p:nvGrpSpPr>
          <p:grpSpPr>
            <a:xfrm>
              <a:off x="7004445" y="4970375"/>
              <a:ext cx="4212000" cy="252000"/>
              <a:chOff x="2899386" y="3566977"/>
              <a:chExt cx="6059123" cy="355998"/>
            </a:xfrm>
          </p:grpSpPr>
          <p:grpSp>
            <p:nvGrpSpPr>
              <p:cNvPr id="9" name="Google Shape;857;p46">
                <a:extLst>
                  <a:ext uri="{FF2B5EF4-FFF2-40B4-BE49-F238E27FC236}">
                    <a16:creationId xmlns:a16="http://schemas.microsoft.com/office/drawing/2014/main" id="{95D63236-68D1-A7CF-0C6F-BFD6677D211D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1" name="Google Shape;858;p46">
                  <a:extLst>
                    <a:ext uri="{FF2B5EF4-FFF2-40B4-BE49-F238E27FC236}">
                      <a16:creationId xmlns:a16="http://schemas.microsoft.com/office/drawing/2014/main" id="{889EAFCE-C042-FF32-B5F7-90F13C3451AD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2" name="Google Shape;859;p46">
                  <a:extLst>
                    <a:ext uri="{FF2B5EF4-FFF2-40B4-BE49-F238E27FC236}">
                      <a16:creationId xmlns:a16="http://schemas.microsoft.com/office/drawing/2014/main" id="{3E3EF948-76E3-BC22-C59F-E87EBC040BF5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0" name="Google Shape;860;p46">
                <a:extLst>
                  <a:ext uri="{FF2B5EF4-FFF2-40B4-BE49-F238E27FC236}">
                    <a16:creationId xmlns:a16="http://schemas.microsoft.com/office/drawing/2014/main" id="{6336D97C-47B6-48FE-C592-99C09E9735CF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" name="Google Shape;861;p46">
            <a:extLst>
              <a:ext uri="{FF2B5EF4-FFF2-40B4-BE49-F238E27FC236}">
                <a16:creationId xmlns:a16="http://schemas.microsoft.com/office/drawing/2014/main" id="{093BF9F0-A7B9-761C-9C45-01D65C82EDB8}"/>
              </a:ext>
            </a:extLst>
          </p:cNvPr>
          <p:cNvPicPr preferRelativeResize="0"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714367">
            <a:off x="2909343" y="2733173"/>
            <a:ext cx="1410163" cy="151309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0" name="Table 15">
            <a:extLst>
              <a:ext uri="{FF2B5EF4-FFF2-40B4-BE49-F238E27FC236}">
                <a16:creationId xmlns:a16="http://schemas.microsoft.com/office/drawing/2014/main" id="{3B2E8852-7656-6465-7E04-A4F7B247CB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2685646"/>
              </p:ext>
            </p:extLst>
          </p:nvPr>
        </p:nvGraphicFramePr>
        <p:xfrm>
          <a:off x="179512" y="3249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31" name="Image 30">
            <a:extLst>
              <a:ext uri="{FF2B5EF4-FFF2-40B4-BE49-F238E27FC236}">
                <a16:creationId xmlns:a16="http://schemas.microsoft.com/office/drawing/2014/main" id="{BFB0C3D0-D37B-69A3-26F7-9E33272E6F2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5863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6B29157-D013-6E54-4BAF-0FA82FBC38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70;p47">
            <a:extLst>
              <a:ext uri="{FF2B5EF4-FFF2-40B4-BE49-F238E27FC236}">
                <a16:creationId xmlns:a16="http://schemas.microsoft.com/office/drawing/2014/main" id="{18CC7929-A06C-477B-572A-4D806E80A6AE}"/>
              </a:ext>
            </a:extLst>
          </p:cNvPr>
          <p:cNvSpPr txBox="1"/>
          <p:nvPr/>
        </p:nvSpPr>
        <p:spPr>
          <a:xfrm>
            <a:off x="1179307" y="562974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أربعة.</a:t>
            </a:r>
            <a:endParaRPr dirty="0"/>
          </a:p>
        </p:txBody>
      </p:sp>
      <p:grpSp>
        <p:nvGrpSpPr>
          <p:cNvPr id="3" name="Google Shape;872;p47">
            <a:extLst>
              <a:ext uri="{FF2B5EF4-FFF2-40B4-BE49-F238E27FC236}">
                <a16:creationId xmlns:a16="http://schemas.microsoft.com/office/drawing/2014/main" id="{6712D2D4-C6C8-05A1-AFE9-50F5AB3D614C}"/>
              </a:ext>
            </a:extLst>
          </p:cNvPr>
          <p:cNvGrpSpPr/>
          <p:nvPr/>
        </p:nvGrpSpPr>
        <p:grpSpPr>
          <a:xfrm rot="-1710118">
            <a:off x="1758354" y="2607709"/>
            <a:ext cx="5627293" cy="1306455"/>
            <a:chOff x="2792445" y="3624663"/>
            <a:chExt cx="8440940" cy="1959682"/>
          </a:xfrm>
        </p:grpSpPr>
        <p:grpSp>
          <p:nvGrpSpPr>
            <p:cNvPr id="4" name="Google Shape;873;p47">
              <a:extLst>
                <a:ext uri="{FF2B5EF4-FFF2-40B4-BE49-F238E27FC236}">
                  <a16:creationId xmlns:a16="http://schemas.microsoft.com/office/drawing/2014/main" id="{1E18D34D-6DE0-155D-9865-4AD36011769E}"/>
                </a:ext>
              </a:extLst>
            </p:cNvPr>
            <p:cNvGrpSpPr/>
            <p:nvPr/>
          </p:nvGrpSpPr>
          <p:grpSpPr>
            <a:xfrm>
              <a:off x="2799199" y="3624663"/>
              <a:ext cx="4212000" cy="252000"/>
              <a:chOff x="2899386" y="3566977"/>
              <a:chExt cx="6059123" cy="355998"/>
            </a:xfrm>
          </p:grpSpPr>
          <p:grpSp>
            <p:nvGrpSpPr>
              <p:cNvPr id="25" name="Google Shape;874;p47">
                <a:extLst>
                  <a:ext uri="{FF2B5EF4-FFF2-40B4-BE49-F238E27FC236}">
                    <a16:creationId xmlns:a16="http://schemas.microsoft.com/office/drawing/2014/main" id="{2B3F27A7-2560-FD60-435E-DD91BA1265DF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27" name="Google Shape;875;p47">
                  <a:extLst>
                    <a:ext uri="{FF2B5EF4-FFF2-40B4-BE49-F238E27FC236}">
                      <a16:creationId xmlns:a16="http://schemas.microsoft.com/office/drawing/2014/main" id="{65B73E3D-A569-5B54-A9F7-27BB0A39AC02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876;p47">
                  <a:extLst>
                    <a:ext uri="{FF2B5EF4-FFF2-40B4-BE49-F238E27FC236}">
                      <a16:creationId xmlns:a16="http://schemas.microsoft.com/office/drawing/2014/main" id="{110EFE7E-44EB-7073-ECCD-C21E08AC86EC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6" name="Google Shape;877;p47">
                <a:extLst>
                  <a:ext uri="{FF2B5EF4-FFF2-40B4-BE49-F238E27FC236}">
                    <a16:creationId xmlns:a16="http://schemas.microsoft.com/office/drawing/2014/main" id="{4AD5CCCE-EC12-FF1C-168C-90FB4FBDF189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5" name="Google Shape;878;p47">
              <a:extLst>
                <a:ext uri="{FF2B5EF4-FFF2-40B4-BE49-F238E27FC236}">
                  <a16:creationId xmlns:a16="http://schemas.microsoft.com/office/drawing/2014/main" id="{D1CDC548-9B38-D82F-4625-F4215A21A34A}"/>
                </a:ext>
              </a:extLst>
            </p:cNvPr>
            <p:cNvGrpSpPr/>
            <p:nvPr/>
          </p:nvGrpSpPr>
          <p:grpSpPr>
            <a:xfrm>
              <a:off x="2809386" y="4519041"/>
              <a:ext cx="4212000" cy="255895"/>
              <a:chOff x="2899386" y="3566977"/>
              <a:chExt cx="6059123" cy="361501"/>
            </a:xfrm>
          </p:grpSpPr>
          <p:grpSp>
            <p:nvGrpSpPr>
              <p:cNvPr id="21" name="Google Shape;879;p47">
                <a:extLst>
                  <a:ext uri="{FF2B5EF4-FFF2-40B4-BE49-F238E27FC236}">
                    <a16:creationId xmlns:a16="http://schemas.microsoft.com/office/drawing/2014/main" id="{0C645047-5533-CF1A-A168-68090E4FC76A}"/>
                  </a:ext>
                </a:extLst>
              </p:cNvPr>
              <p:cNvGrpSpPr/>
              <p:nvPr/>
            </p:nvGrpSpPr>
            <p:grpSpPr>
              <a:xfrm>
                <a:off x="2989588" y="3566977"/>
                <a:ext cx="5968921" cy="361501"/>
                <a:chOff x="2989588" y="3566977"/>
                <a:chExt cx="5968921" cy="361501"/>
              </a:xfrm>
            </p:grpSpPr>
            <p:sp>
              <p:nvSpPr>
                <p:cNvPr id="23" name="Google Shape;880;p47">
                  <a:extLst>
                    <a:ext uri="{FF2B5EF4-FFF2-40B4-BE49-F238E27FC236}">
                      <a16:creationId xmlns:a16="http://schemas.microsoft.com/office/drawing/2014/main" id="{6BF2B70C-2542-860A-6FED-717B078792EA}"/>
                    </a:ext>
                  </a:extLst>
                </p:cNvPr>
                <p:cNvSpPr/>
                <p:nvPr/>
              </p:nvSpPr>
              <p:spPr>
                <a:xfrm>
                  <a:off x="2989588" y="3581930"/>
                  <a:ext cx="5908430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" name="Google Shape;881;p47">
                  <a:extLst>
                    <a:ext uri="{FF2B5EF4-FFF2-40B4-BE49-F238E27FC236}">
                      <a16:creationId xmlns:a16="http://schemas.microsoft.com/office/drawing/2014/main" id="{7B336CD3-9C4E-7932-3808-0839C794A48D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2" name="Google Shape;882;p47">
                <a:extLst>
                  <a:ext uri="{FF2B5EF4-FFF2-40B4-BE49-F238E27FC236}">
                    <a16:creationId xmlns:a16="http://schemas.microsoft.com/office/drawing/2014/main" id="{B0A65546-C614-6A0E-25C6-570D30511AF9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" name="Google Shape;883;p47">
              <a:extLst>
                <a:ext uri="{FF2B5EF4-FFF2-40B4-BE49-F238E27FC236}">
                  <a16:creationId xmlns:a16="http://schemas.microsoft.com/office/drawing/2014/main" id="{1E023F63-462F-0F21-A66F-B975939DF2F7}"/>
                </a:ext>
              </a:extLst>
            </p:cNvPr>
            <p:cNvGrpSpPr/>
            <p:nvPr/>
          </p:nvGrpSpPr>
          <p:grpSpPr>
            <a:xfrm>
              <a:off x="2792445" y="5332345"/>
              <a:ext cx="4212000" cy="252000"/>
              <a:chOff x="2899386" y="3566977"/>
              <a:chExt cx="6059123" cy="355998"/>
            </a:xfrm>
          </p:grpSpPr>
          <p:grpSp>
            <p:nvGrpSpPr>
              <p:cNvPr id="17" name="Google Shape;884;p47">
                <a:extLst>
                  <a:ext uri="{FF2B5EF4-FFF2-40B4-BE49-F238E27FC236}">
                    <a16:creationId xmlns:a16="http://schemas.microsoft.com/office/drawing/2014/main" id="{C92E5246-E35B-02B4-6FB8-4600FBF2CF3E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9" name="Google Shape;885;p47">
                  <a:extLst>
                    <a:ext uri="{FF2B5EF4-FFF2-40B4-BE49-F238E27FC236}">
                      <a16:creationId xmlns:a16="http://schemas.microsoft.com/office/drawing/2014/main" id="{D64F8326-DF2B-C1A3-B540-D9F2237C0C3D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" name="Google Shape;886;p47">
                  <a:extLst>
                    <a:ext uri="{FF2B5EF4-FFF2-40B4-BE49-F238E27FC236}">
                      <a16:creationId xmlns:a16="http://schemas.microsoft.com/office/drawing/2014/main" id="{BB506D1C-4D5D-D191-00FC-2DAB376EC2AA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8" name="Google Shape;887;p47">
                <a:extLst>
                  <a:ext uri="{FF2B5EF4-FFF2-40B4-BE49-F238E27FC236}">
                    <a16:creationId xmlns:a16="http://schemas.microsoft.com/office/drawing/2014/main" id="{C5B0E68D-0F8F-34FE-CF62-D020FFA710C1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" name="Google Shape;888;p47">
              <a:extLst>
                <a:ext uri="{FF2B5EF4-FFF2-40B4-BE49-F238E27FC236}">
                  <a16:creationId xmlns:a16="http://schemas.microsoft.com/office/drawing/2014/main" id="{717A6AEC-367D-9BE4-B2A2-2F5825AEE61B}"/>
                </a:ext>
              </a:extLst>
            </p:cNvPr>
            <p:cNvGrpSpPr/>
            <p:nvPr/>
          </p:nvGrpSpPr>
          <p:grpSpPr>
            <a:xfrm>
              <a:off x="7021385" y="4070646"/>
              <a:ext cx="4212000" cy="252000"/>
              <a:chOff x="2899386" y="3566977"/>
              <a:chExt cx="6059123" cy="355998"/>
            </a:xfrm>
          </p:grpSpPr>
          <p:grpSp>
            <p:nvGrpSpPr>
              <p:cNvPr id="13" name="Google Shape;889;p47">
                <a:extLst>
                  <a:ext uri="{FF2B5EF4-FFF2-40B4-BE49-F238E27FC236}">
                    <a16:creationId xmlns:a16="http://schemas.microsoft.com/office/drawing/2014/main" id="{75569291-F054-134B-91B2-14A3EDF1135D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5" name="Google Shape;890;p47">
                  <a:extLst>
                    <a:ext uri="{FF2B5EF4-FFF2-40B4-BE49-F238E27FC236}">
                      <a16:creationId xmlns:a16="http://schemas.microsoft.com/office/drawing/2014/main" id="{1F93344A-55F2-0EEC-8EC8-D9A7DD3046FF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" name="Google Shape;891;p47">
                  <a:extLst>
                    <a:ext uri="{FF2B5EF4-FFF2-40B4-BE49-F238E27FC236}">
                      <a16:creationId xmlns:a16="http://schemas.microsoft.com/office/drawing/2014/main" id="{E25E992E-58D3-1E84-F1DB-32FF58635604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4" name="Google Shape;892;p47">
                <a:extLst>
                  <a:ext uri="{FF2B5EF4-FFF2-40B4-BE49-F238E27FC236}">
                    <a16:creationId xmlns:a16="http://schemas.microsoft.com/office/drawing/2014/main" id="{20257F01-B324-5D83-0B10-DE4302F21987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" name="Google Shape;893;p47">
              <a:extLst>
                <a:ext uri="{FF2B5EF4-FFF2-40B4-BE49-F238E27FC236}">
                  <a16:creationId xmlns:a16="http://schemas.microsoft.com/office/drawing/2014/main" id="{0BFA96D4-C706-7AD4-F778-5C95BB1DDDFA}"/>
                </a:ext>
              </a:extLst>
            </p:cNvPr>
            <p:cNvGrpSpPr/>
            <p:nvPr/>
          </p:nvGrpSpPr>
          <p:grpSpPr>
            <a:xfrm>
              <a:off x="7004445" y="4970375"/>
              <a:ext cx="4212000" cy="252000"/>
              <a:chOff x="2899386" y="3566977"/>
              <a:chExt cx="6059123" cy="355998"/>
            </a:xfrm>
          </p:grpSpPr>
          <p:grpSp>
            <p:nvGrpSpPr>
              <p:cNvPr id="9" name="Google Shape;894;p47">
                <a:extLst>
                  <a:ext uri="{FF2B5EF4-FFF2-40B4-BE49-F238E27FC236}">
                    <a16:creationId xmlns:a16="http://schemas.microsoft.com/office/drawing/2014/main" id="{104AB63F-901A-D7F9-25E4-573A5E7DA65E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1" name="Google Shape;895;p47">
                  <a:extLst>
                    <a:ext uri="{FF2B5EF4-FFF2-40B4-BE49-F238E27FC236}">
                      <a16:creationId xmlns:a16="http://schemas.microsoft.com/office/drawing/2014/main" id="{5BF7C97B-084D-DC3D-A1AD-C6B40C848F7D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2" name="Google Shape;896;p47">
                  <a:extLst>
                    <a:ext uri="{FF2B5EF4-FFF2-40B4-BE49-F238E27FC236}">
                      <a16:creationId xmlns:a16="http://schemas.microsoft.com/office/drawing/2014/main" id="{EE165635-AB27-8080-9123-DD6B84548DCD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0" name="Google Shape;897;p47">
                <a:extLst>
                  <a:ext uri="{FF2B5EF4-FFF2-40B4-BE49-F238E27FC236}">
                    <a16:creationId xmlns:a16="http://schemas.microsoft.com/office/drawing/2014/main" id="{E0260D59-4E16-D1CB-D8C8-9EDA72146572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" name="Google Shape;898;p47">
            <a:extLst>
              <a:ext uri="{FF2B5EF4-FFF2-40B4-BE49-F238E27FC236}">
                <a16:creationId xmlns:a16="http://schemas.microsoft.com/office/drawing/2014/main" id="{71CEB6B0-1668-56FE-D175-8A739CFC9DBA}"/>
              </a:ext>
            </a:extLst>
          </p:cNvPr>
          <p:cNvPicPr preferRelativeResize="0"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714367">
            <a:off x="5623208" y="2292709"/>
            <a:ext cx="1410163" cy="151309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0" name="Table 15">
            <a:extLst>
              <a:ext uri="{FF2B5EF4-FFF2-40B4-BE49-F238E27FC236}">
                <a16:creationId xmlns:a16="http://schemas.microsoft.com/office/drawing/2014/main" id="{6C24A755-03ED-B132-977A-83EA87EFD1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2654966"/>
              </p:ext>
            </p:extLst>
          </p:nvPr>
        </p:nvGraphicFramePr>
        <p:xfrm>
          <a:off x="179512" y="8524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31" name="Image 30">
            <a:extLst>
              <a:ext uri="{FF2B5EF4-FFF2-40B4-BE49-F238E27FC236}">
                <a16:creationId xmlns:a16="http://schemas.microsoft.com/office/drawing/2014/main" id="{0CA31D2A-0BC5-E926-F31E-E7F0671E28C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45009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90ADF41-74E2-AAA3-0988-B5B031F97D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07;p48">
            <a:extLst>
              <a:ext uri="{FF2B5EF4-FFF2-40B4-BE49-F238E27FC236}">
                <a16:creationId xmlns:a16="http://schemas.microsoft.com/office/drawing/2014/main" id="{A53A43C4-2C29-F248-207D-7E675DBD5AC7}"/>
              </a:ext>
            </a:extLst>
          </p:cNvPr>
          <p:cNvSpPr txBox="1"/>
          <p:nvPr/>
        </p:nvSpPr>
        <p:spPr>
          <a:xfrm>
            <a:off x="1167275" y="562920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خمسة.</a:t>
            </a:r>
            <a:endParaRPr dirty="0"/>
          </a:p>
        </p:txBody>
      </p:sp>
      <p:grpSp>
        <p:nvGrpSpPr>
          <p:cNvPr id="3" name="Google Shape;909;p48">
            <a:extLst>
              <a:ext uri="{FF2B5EF4-FFF2-40B4-BE49-F238E27FC236}">
                <a16:creationId xmlns:a16="http://schemas.microsoft.com/office/drawing/2014/main" id="{8FCCE633-C663-6F3C-F5EB-4CF8BE69E524}"/>
              </a:ext>
            </a:extLst>
          </p:cNvPr>
          <p:cNvGrpSpPr/>
          <p:nvPr/>
        </p:nvGrpSpPr>
        <p:grpSpPr>
          <a:xfrm rot="-1710118">
            <a:off x="1758354" y="2607709"/>
            <a:ext cx="5627293" cy="1306455"/>
            <a:chOff x="2792445" y="3624663"/>
            <a:chExt cx="8440940" cy="1959682"/>
          </a:xfrm>
        </p:grpSpPr>
        <p:grpSp>
          <p:nvGrpSpPr>
            <p:cNvPr id="4" name="Google Shape;910;p48">
              <a:extLst>
                <a:ext uri="{FF2B5EF4-FFF2-40B4-BE49-F238E27FC236}">
                  <a16:creationId xmlns:a16="http://schemas.microsoft.com/office/drawing/2014/main" id="{CD399CB2-38F8-CC6D-4C34-19AC43613F34}"/>
                </a:ext>
              </a:extLst>
            </p:cNvPr>
            <p:cNvGrpSpPr/>
            <p:nvPr/>
          </p:nvGrpSpPr>
          <p:grpSpPr>
            <a:xfrm>
              <a:off x="2799199" y="3624663"/>
              <a:ext cx="4212000" cy="252000"/>
              <a:chOff x="2899386" y="3566977"/>
              <a:chExt cx="6059123" cy="355998"/>
            </a:xfrm>
          </p:grpSpPr>
          <p:grpSp>
            <p:nvGrpSpPr>
              <p:cNvPr id="25" name="Google Shape;911;p48">
                <a:extLst>
                  <a:ext uri="{FF2B5EF4-FFF2-40B4-BE49-F238E27FC236}">
                    <a16:creationId xmlns:a16="http://schemas.microsoft.com/office/drawing/2014/main" id="{AE46D6E9-689F-23AE-4A44-E38271205D53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27" name="Google Shape;912;p48">
                  <a:extLst>
                    <a:ext uri="{FF2B5EF4-FFF2-40B4-BE49-F238E27FC236}">
                      <a16:creationId xmlns:a16="http://schemas.microsoft.com/office/drawing/2014/main" id="{48EB66E9-5A1A-2151-CD4A-6E0C41AEF379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913;p48">
                  <a:extLst>
                    <a:ext uri="{FF2B5EF4-FFF2-40B4-BE49-F238E27FC236}">
                      <a16:creationId xmlns:a16="http://schemas.microsoft.com/office/drawing/2014/main" id="{DF2CA5C9-FE66-2E82-7A3D-9149F64CB645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6" name="Google Shape;914;p48">
                <a:extLst>
                  <a:ext uri="{FF2B5EF4-FFF2-40B4-BE49-F238E27FC236}">
                    <a16:creationId xmlns:a16="http://schemas.microsoft.com/office/drawing/2014/main" id="{3EAAF68E-7B59-F2CE-9EE1-C132EE34B2F7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5" name="Google Shape;915;p48">
              <a:extLst>
                <a:ext uri="{FF2B5EF4-FFF2-40B4-BE49-F238E27FC236}">
                  <a16:creationId xmlns:a16="http://schemas.microsoft.com/office/drawing/2014/main" id="{0A8CB672-9DB1-BEC6-A60A-16A98C315F18}"/>
                </a:ext>
              </a:extLst>
            </p:cNvPr>
            <p:cNvGrpSpPr/>
            <p:nvPr/>
          </p:nvGrpSpPr>
          <p:grpSpPr>
            <a:xfrm>
              <a:off x="2809386" y="4519041"/>
              <a:ext cx="4212000" cy="255895"/>
              <a:chOff x="2899386" y="3566977"/>
              <a:chExt cx="6059123" cy="361501"/>
            </a:xfrm>
          </p:grpSpPr>
          <p:grpSp>
            <p:nvGrpSpPr>
              <p:cNvPr id="21" name="Google Shape;916;p48">
                <a:extLst>
                  <a:ext uri="{FF2B5EF4-FFF2-40B4-BE49-F238E27FC236}">
                    <a16:creationId xmlns:a16="http://schemas.microsoft.com/office/drawing/2014/main" id="{331FD864-0E8B-E4AA-8E8B-74F35DC1B9C9}"/>
                  </a:ext>
                </a:extLst>
              </p:cNvPr>
              <p:cNvGrpSpPr/>
              <p:nvPr/>
            </p:nvGrpSpPr>
            <p:grpSpPr>
              <a:xfrm>
                <a:off x="2989588" y="3566977"/>
                <a:ext cx="5968921" cy="361501"/>
                <a:chOff x="2989588" y="3566977"/>
                <a:chExt cx="5968921" cy="361501"/>
              </a:xfrm>
            </p:grpSpPr>
            <p:sp>
              <p:nvSpPr>
                <p:cNvPr id="23" name="Google Shape;917;p48">
                  <a:extLst>
                    <a:ext uri="{FF2B5EF4-FFF2-40B4-BE49-F238E27FC236}">
                      <a16:creationId xmlns:a16="http://schemas.microsoft.com/office/drawing/2014/main" id="{2E33A703-6274-3ACA-8EBB-9F84440082F1}"/>
                    </a:ext>
                  </a:extLst>
                </p:cNvPr>
                <p:cNvSpPr/>
                <p:nvPr/>
              </p:nvSpPr>
              <p:spPr>
                <a:xfrm>
                  <a:off x="2989588" y="3581930"/>
                  <a:ext cx="5908430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" name="Google Shape;918;p48">
                  <a:extLst>
                    <a:ext uri="{FF2B5EF4-FFF2-40B4-BE49-F238E27FC236}">
                      <a16:creationId xmlns:a16="http://schemas.microsoft.com/office/drawing/2014/main" id="{C5C8F2FF-C2D4-5CF3-47D6-1550BA139A89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2" name="Google Shape;919;p48">
                <a:extLst>
                  <a:ext uri="{FF2B5EF4-FFF2-40B4-BE49-F238E27FC236}">
                    <a16:creationId xmlns:a16="http://schemas.microsoft.com/office/drawing/2014/main" id="{ED6A9FC9-934A-0A0E-9BB7-D5F407E65F0F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" name="Google Shape;920;p48">
              <a:extLst>
                <a:ext uri="{FF2B5EF4-FFF2-40B4-BE49-F238E27FC236}">
                  <a16:creationId xmlns:a16="http://schemas.microsoft.com/office/drawing/2014/main" id="{8BB1CCC8-7C8F-2E5C-6A76-3AA392FE3A8E}"/>
                </a:ext>
              </a:extLst>
            </p:cNvPr>
            <p:cNvGrpSpPr/>
            <p:nvPr/>
          </p:nvGrpSpPr>
          <p:grpSpPr>
            <a:xfrm>
              <a:off x="2792445" y="5332345"/>
              <a:ext cx="4212000" cy="252000"/>
              <a:chOff x="2899386" y="3566977"/>
              <a:chExt cx="6059123" cy="355998"/>
            </a:xfrm>
          </p:grpSpPr>
          <p:grpSp>
            <p:nvGrpSpPr>
              <p:cNvPr id="17" name="Google Shape;921;p48">
                <a:extLst>
                  <a:ext uri="{FF2B5EF4-FFF2-40B4-BE49-F238E27FC236}">
                    <a16:creationId xmlns:a16="http://schemas.microsoft.com/office/drawing/2014/main" id="{9B154026-6527-2D58-D20A-DE09BE1CABEA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9" name="Google Shape;922;p48">
                  <a:extLst>
                    <a:ext uri="{FF2B5EF4-FFF2-40B4-BE49-F238E27FC236}">
                      <a16:creationId xmlns:a16="http://schemas.microsoft.com/office/drawing/2014/main" id="{35CE311B-16DC-6F4A-504B-5074AAC3C64C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" name="Google Shape;923;p48">
                  <a:extLst>
                    <a:ext uri="{FF2B5EF4-FFF2-40B4-BE49-F238E27FC236}">
                      <a16:creationId xmlns:a16="http://schemas.microsoft.com/office/drawing/2014/main" id="{1383F29A-F883-3DBC-1DF3-B5DF70ECCE52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8" name="Google Shape;924;p48">
                <a:extLst>
                  <a:ext uri="{FF2B5EF4-FFF2-40B4-BE49-F238E27FC236}">
                    <a16:creationId xmlns:a16="http://schemas.microsoft.com/office/drawing/2014/main" id="{F821E0B9-0128-C0E8-6DA5-D6F6BC3D7B96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" name="Google Shape;925;p48">
              <a:extLst>
                <a:ext uri="{FF2B5EF4-FFF2-40B4-BE49-F238E27FC236}">
                  <a16:creationId xmlns:a16="http://schemas.microsoft.com/office/drawing/2014/main" id="{44046CC0-06EA-FA2F-106C-6DEF151EA0F5}"/>
                </a:ext>
              </a:extLst>
            </p:cNvPr>
            <p:cNvGrpSpPr/>
            <p:nvPr/>
          </p:nvGrpSpPr>
          <p:grpSpPr>
            <a:xfrm>
              <a:off x="7021385" y="4070646"/>
              <a:ext cx="4212000" cy="252000"/>
              <a:chOff x="2899386" y="3566977"/>
              <a:chExt cx="6059123" cy="355998"/>
            </a:xfrm>
          </p:grpSpPr>
          <p:grpSp>
            <p:nvGrpSpPr>
              <p:cNvPr id="13" name="Google Shape;926;p48">
                <a:extLst>
                  <a:ext uri="{FF2B5EF4-FFF2-40B4-BE49-F238E27FC236}">
                    <a16:creationId xmlns:a16="http://schemas.microsoft.com/office/drawing/2014/main" id="{E3EA6689-00F7-1B80-807C-A02FFDA0B87F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5" name="Google Shape;927;p48">
                  <a:extLst>
                    <a:ext uri="{FF2B5EF4-FFF2-40B4-BE49-F238E27FC236}">
                      <a16:creationId xmlns:a16="http://schemas.microsoft.com/office/drawing/2014/main" id="{71F4EC08-421A-2FD3-1FAB-B68DE06B25EB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" name="Google Shape;928;p48">
                  <a:extLst>
                    <a:ext uri="{FF2B5EF4-FFF2-40B4-BE49-F238E27FC236}">
                      <a16:creationId xmlns:a16="http://schemas.microsoft.com/office/drawing/2014/main" id="{73C85E6A-E58A-7B7D-A120-D3774C9725BB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4" name="Google Shape;929;p48">
                <a:extLst>
                  <a:ext uri="{FF2B5EF4-FFF2-40B4-BE49-F238E27FC236}">
                    <a16:creationId xmlns:a16="http://schemas.microsoft.com/office/drawing/2014/main" id="{45037DB8-AAFE-BBA8-20C8-9EE7F30FB660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" name="Google Shape;930;p48">
              <a:extLst>
                <a:ext uri="{FF2B5EF4-FFF2-40B4-BE49-F238E27FC236}">
                  <a16:creationId xmlns:a16="http://schemas.microsoft.com/office/drawing/2014/main" id="{063C61DB-AE88-84DB-2F72-388ECF900288}"/>
                </a:ext>
              </a:extLst>
            </p:cNvPr>
            <p:cNvGrpSpPr/>
            <p:nvPr/>
          </p:nvGrpSpPr>
          <p:grpSpPr>
            <a:xfrm>
              <a:off x="7004445" y="4970375"/>
              <a:ext cx="4212000" cy="252000"/>
              <a:chOff x="2899386" y="3566977"/>
              <a:chExt cx="6059123" cy="355998"/>
            </a:xfrm>
          </p:grpSpPr>
          <p:grpSp>
            <p:nvGrpSpPr>
              <p:cNvPr id="9" name="Google Shape;931;p48">
                <a:extLst>
                  <a:ext uri="{FF2B5EF4-FFF2-40B4-BE49-F238E27FC236}">
                    <a16:creationId xmlns:a16="http://schemas.microsoft.com/office/drawing/2014/main" id="{58C0F72D-6736-B28E-A61B-928CECB23671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1" name="Google Shape;932;p48">
                  <a:extLst>
                    <a:ext uri="{FF2B5EF4-FFF2-40B4-BE49-F238E27FC236}">
                      <a16:creationId xmlns:a16="http://schemas.microsoft.com/office/drawing/2014/main" id="{469C4491-B04A-66CF-F7DA-2FFC6F85343A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2" name="Google Shape;933;p48">
                  <a:extLst>
                    <a:ext uri="{FF2B5EF4-FFF2-40B4-BE49-F238E27FC236}">
                      <a16:creationId xmlns:a16="http://schemas.microsoft.com/office/drawing/2014/main" id="{070070AF-BEC0-1DCB-8378-749DFE0D87E2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0" name="Google Shape;934;p48">
                <a:extLst>
                  <a:ext uri="{FF2B5EF4-FFF2-40B4-BE49-F238E27FC236}">
                    <a16:creationId xmlns:a16="http://schemas.microsoft.com/office/drawing/2014/main" id="{60AB3A17-BBCE-420D-A5A5-559E4D7D292E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" name="Google Shape;935;p48">
            <a:extLst>
              <a:ext uri="{FF2B5EF4-FFF2-40B4-BE49-F238E27FC236}">
                <a16:creationId xmlns:a16="http://schemas.microsoft.com/office/drawing/2014/main" id="{4F61ABDA-5D3F-A993-4F72-F487350F0EEE}"/>
              </a:ext>
            </a:extLst>
          </p:cNvPr>
          <p:cNvPicPr preferRelativeResize="0"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714367">
            <a:off x="5396548" y="1627492"/>
            <a:ext cx="1410163" cy="151309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0" name="Table 15">
            <a:extLst>
              <a:ext uri="{FF2B5EF4-FFF2-40B4-BE49-F238E27FC236}">
                <a16:creationId xmlns:a16="http://schemas.microsoft.com/office/drawing/2014/main" id="{B1D5243C-686D-97E5-699B-582996E146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2694775"/>
              </p:ext>
            </p:extLst>
          </p:nvPr>
        </p:nvGraphicFramePr>
        <p:xfrm>
          <a:off x="179512" y="609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31" name="Image 30">
            <a:extLst>
              <a:ext uri="{FF2B5EF4-FFF2-40B4-BE49-F238E27FC236}">
                <a16:creationId xmlns:a16="http://schemas.microsoft.com/office/drawing/2014/main" id="{FD8D23E2-0CBE-F5CA-2EF5-663B3090CD3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65439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D5A0C1C-A3EF-6EF7-C954-AD96411B79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946;p49">
            <a:extLst>
              <a:ext uri="{FF2B5EF4-FFF2-40B4-BE49-F238E27FC236}">
                <a16:creationId xmlns:a16="http://schemas.microsoft.com/office/drawing/2014/main" id="{3B137EC3-EF9B-AFCC-8D48-2D5B276D55C3}"/>
              </a:ext>
            </a:extLst>
          </p:cNvPr>
          <p:cNvSpPr/>
          <p:nvPr/>
        </p:nvSpPr>
        <p:spPr>
          <a:xfrm rot="19880923">
            <a:off x="1298956" y="2013217"/>
            <a:ext cx="6265777" cy="2653797"/>
          </a:xfrm>
          <a:prstGeom prst="ellipse">
            <a:avLst/>
          </a:prstGeom>
          <a:noFill/>
          <a:ln w="57150" cap="flat" cmpd="sng">
            <a:solidFill>
              <a:srgbClr val="38562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" name="Google Shape;947;p49">
            <a:extLst>
              <a:ext uri="{FF2B5EF4-FFF2-40B4-BE49-F238E27FC236}">
                <a16:creationId xmlns:a16="http://schemas.microsoft.com/office/drawing/2014/main" id="{1F89E5FA-75BA-693E-1EAA-048BB954329F}"/>
              </a:ext>
            </a:extLst>
          </p:cNvPr>
          <p:cNvGrpSpPr/>
          <p:nvPr/>
        </p:nvGrpSpPr>
        <p:grpSpPr>
          <a:xfrm rot="-1710118">
            <a:off x="1758354" y="2607709"/>
            <a:ext cx="5627293" cy="1306455"/>
            <a:chOff x="2792445" y="3624663"/>
            <a:chExt cx="8440940" cy="1959682"/>
          </a:xfrm>
        </p:grpSpPr>
        <p:grpSp>
          <p:nvGrpSpPr>
            <p:cNvPr id="5" name="Google Shape;948;p49">
              <a:extLst>
                <a:ext uri="{FF2B5EF4-FFF2-40B4-BE49-F238E27FC236}">
                  <a16:creationId xmlns:a16="http://schemas.microsoft.com/office/drawing/2014/main" id="{83567FBE-3ED1-C1BB-6ED5-C32C6C008826}"/>
                </a:ext>
              </a:extLst>
            </p:cNvPr>
            <p:cNvGrpSpPr/>
            <p:nvPr/>
          </p:nvGrpSpPr>
          <p:grpSpPr>
            <a:xfrm>
              <a:off x="2799199" y="3624663"/>
              <a:ext cx="4212000" cy="252000"/>
              <a:chOff x="2899386" y="3566977"/>
              <a:chExt cx="6059123" cy="355998"/>
            </a:xfrm>
          </p:grpSpPr>
          <p:grpSp>
            <p:nvGrpSpPr>
              <p:cNvPr id="26" name="Google Shape;949;p49">
                <a:extLst>
                  <a:ext uri="{FF2B5EF4-FFF2-40B4-BE49-F238E27FC236}">
                    <a16:creationId xmlns:a16="http://schemas.microsoft.com/office/drawing/2014/main" id="{E2F10E7F-A983-6E21-8FBE-72C0CD19886C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28" name="Google Shape;950;p49">
                  <a:extLst>
                    <a:ext uri="{FF2B5EF4-FFF2-40B4-BE49-F238E27FC236}">
                      <a16:creationId xmlns:a16="http://schemas.microsoft.com/office/drawing/2014/main" id="{7D8846EB-43D4-FEE1-9910-8506308D50E3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9" name="Google Shape;951;p49">
                  <a:extLst>
                    <a:ext uri="{FF2B5EF4-FFF2-40B4-BE49-F238E27FC236}">
                      <a16:creationId xmlns:a16="http://schemas.microsoft.com/office/drawing/2014/main" id="{3A7201B7-6384-0DE9-D450-F4C6001A4C9F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7" name="Google Shape;952;p49">
                <a:extLst>
                  <a:ext uri="{FF2B5EF4-FFF2-40B4-BE49-F238E27FC236}">
                    <a16:creationId xmlns:a16="http://schemas.microsoft.com/office/drawing/2014/main" id="{DE90DE86-AD70-7CB5-54DB-A991298B9960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" name="Google Shape;953;p49">
              <a:extLst>
                <a:ext uri="{FF2B5EF4-FFF2-40B4-BE49-F238E27FC236}">
                  <a16:creationId xmlns:a16="http://schemas.microsoft.com/office/drawing/2014/main" id="{E73B6453-5C71-C405-187E-364B867F6631}"/>
                </a:ext>
              </a:extLst>
            </p:cNvPr>
            <p:cNvGrpSpPr/>
            <p:nvPr/>
          </p:nvGrpSpPr>
          <p:grpSpPr>
            <a:xfrm>
              <a:off x="2809386" y="4519041"/>
              <a:ext cx="4212000" cy="255895"/>
              <a:chOff x="2899386" y="3566977"/>
              <a:chExt cx="6059123" cy="361501"/>
            </a:xfrm>
          </p:grpSpPr>
          <p:grpSp>
            <p:nvGrpSpPr>
              <p:cNvPr id="22" name="Google Shape;954;p49">
                <a:extLst>
                  <a:ext uri="{FF2B5EF4-FFF2-40B4-BE49-F238E27FC236}">
                    <a16:creationId xmlns:a16="http://schemas.microsoft.com/office/drawing/2014/main" id="{3FDB1BC6-1DD3-8070-7378-7086F8B038D5}"/>
                  </a:ext>
                </a:extLst>
              </p:cNvPr>
              <p:cNvGrpSpPr/>
              <p:nvPr/>
            </p:nvGrpSpPr>
            <p:grpSpPr>
              <a:xfrm>
                <a:off x="2989588" y="3566977"/>
                <a:ext cx="5968921" cy="361501"/>
                <a:chOff x="2989588" y="3566977"/>
                <a:chExt cx="5968921" cy="361501"/>
              </a:xfrm>
            </p:grpSpPr>
            <p:sp>
              <p:nvSpPr>
                <p:cNvPr id="24" name="Google Shape;955;p49">
                  <a:extLst>
                    <a:ext uri="{FF2B5EF4-FFF2-40B4-BE49-F238E27FC236}">
                      <a16:creationId xmlns:a16="http://schemas.microsoft.com/office/drawing/2014/main" id="{9CAB5686-A897-B606-BB81-9070B195B250}"/>
                    </a:ext>
                  </a:extLst>
                </p:cNvPr>
                <p:cNvSpPr/>
                <p:nvPr/>
              </p:nvSpPr>
              <p:spPr>
                <a:xfrm>
                  <a:off x="2989588" y="3581930"/>
                  <a:ext cx="5908430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956;p49">
                  <a:extLst>
                    <a:ext uri="{FF2B5EF4-FFF2-40B4-BE49-F238E27FC236}">
                      <a16:creationId xmlns:a16="http://schemas.microsoft.com/office/drawing/2014/main" id="{A515CA3D-65E6-B3D6-F1CC-2E73CBCFE788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3" name="Google Shape;957;p49">
                <a:extLst>
                  <a:ext uri="{FF2B5EF4-FFF2-40B4-BE49-F238E27FC236}">
                    <a16:creationId xmlns:a16="http://schemas.microsoft.com/office/drawing/2014/main" id="{E20900A3-9E3A-04AE-78A4-58A81BF80470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" name="Google Shape;958;p49">
              <a:extLst>
                <a:ext uri="{FF2B5EF4-FFF2-40B4-BE49-F238E27FC236}">
                  <a16:creationId xmlns:a16="http://schemas.microsoft.com/office/drawing/2014/main" id="{547B6799-8E1D-B293-5826-8E6F76F5F8C3}"/>
                </a:ext>
              </a:extLst>
            </p:cNvPr>
            <p:cNvGrpSpPr/>
            <p:nvPr/>
          </p:nvGrpSpPr>
          <p:grpSpPr>
            <a:xfrm>
              <a:off x="2792445" y="5332345"/>
              <a:ext cx="4212000" cy="252000"/>
              <a:chOff x="2899386" y="3566977"/>
              <a:chExt cx="6059123" cy="355998"/>
            </a:xfrm>
          </p:grpSpPr>
          <p:grpSp>
            <p:nvGrpSpPr>
              <p:cNvPr id="18" name="Google Shape;959;p49">
                <a:extLst>
                  <a:ext uri="{FF2B5EF4-FFF2-40B4-BE49-F238E27FC236}">
                    <a16:creationId xmlns:a16="http://schemas.microsoft.com/office/drawing/2014/main" id="{2C6217B6-56A4-89E6-C712-0C0BA294FE48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20" name="Google Shape;960;p49">
                  <a:extLst>
                    <a:ext uri="{FF2B5EF4-FFF2-40B4-BE49-F238E27FC236}">
                      <a16:creationId xmlns:a16="http://schemas.microsoft.com/office/drawing/2014/main" id="{02DC7066-7F01-9E94-144D-82E55306DA2D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" name="Google Shape;961;p49">
                  <a:extLst>
                    <a:ext uri="{FF2B5EF4-FFF2-40B4-BE49-F238E27FC236}">
                      <a16:creationId xmlns:a16="http://schemas.microsoft.com/office/drawing/2014/main" id="{308F43D4-157C-CC39-39EC-1E2FBD26AA19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9" name="Google Shape;962;p49">
                <a:extLst>
                  <a:ext uri="{FF2B5EF4-FFF2-40B4-BE49-F238E27FC236}">
                    <a16:creationId xmlns:a16="http://schemas.microsoft.com/office/drawing/2014/main" id="{34FB8F58-BCDC-7BB7-8E37-7E02C0986843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" name="Google Shape;963;p49">
              <a:extLst>
                <a:ext uri="{FF2B5EF4-FFF2-40B4-BE49-F238E27FC236}">
                  <a16:creationId xmlns:a16="http://schemas.microsoft.com/office/drawing/2014/main" id="{A2C9E40E-C2D7-31D7-0DCA-BB450C9FB8D2}"/>
                </a:ext>
              </a:extLst>
            </p:cNvPr>
            <p:cNvGrpSpPr/>
            <p:nvPr/>
          </p:nvGrpSpPr>
          <p:grpSpPr>
            <a:xfrm>
              <a:off x="7021385" y="4070646"/>
              <a:ext cx="4212000" cy="252000"/>
              <a:chOff x="2899386" y="3566977"/>
              <a:chExt cx="6059123" cy="355998"/>
            </a:xfrm>
          </p:grpSpPr>
          <p:grpSp>
            <p:nvGrpSpPr>
              <p:cNvPr id="14" name="Google Shape;964;p49">
                <a:extLst>
                  <a:ext uri="{FF2B5EF4-FFF2-40B4-BE49-F238E27FC236}">
                    <a16:creationId xmlns:a16="http://schemas.microsoft.com/office/drawing/2014/main" id="{5B0959DA-22A0-4921-8CF0-2E70F4C97ADC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6" name="Google Shape;965;p49">
                  <a:extLst>
                    <a:ext uri="{FF2B5EF4-FFF2-40B4-BE49-F238E27FC236}">
                      <a16:creationId xmlns:a16="http://schemas.microsoft.com/office/drawing/2014/main" id="{37C0CD3A-96D5-924E-FB14-1FDAC06EA0DC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" name="Google Shape;966;p49">
                  <a:extLst>
                    <a:ext uri="{FF2B5EF4-FFF2-40B4-BE49-F238E27FC236}">
                      <a16:creationId xmlns:a16="http://schemas.microsoft.com/office/drawing/2014/main" id="{F941BDC2-5921-2B3B-2AE6-C95FED7DD6B5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5" name="Google Shape;967;p49">
                <a:extLst>
                  <a:ext uri="{FF2B5EF4-FFF2-40B4-BE49-F238E27FC236}">
                    <a16:creationId xmlns:a16="http://schemas.microsoft.com/office/drawing/2014/main" id="{AC5408A8-BA83-9D98-C81F-FC76C0D9D32E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9" name="Google Shape;968;p49">
              <a:extLst>
                <a:ext uri="{FF2B5EF4-FFF2-40B4-BE49-F238E27FC236}">
                  <a16:creationId xmlns:a16="http://schemas.microsoft.com/office/drawing/2014/main" id="{F1EA94E8-71FD-63DC-D71A-0B208E20221F}"/>
                </a:ext>
              </a:extLst>
            </p:cNvPr>
            <p:cNvGrpSpPr/>
            <p:nvPr/>
          </p:nvGrpSpPr>
          <p:grpSpPr>
            <a:xfrm>
              <a:off x="7004445" y="4970375"/>
              <a:ext cx="4212000" cy="252000"/>
              <a:chOff x="2899386" y="3566977"/>
              <a:chExt cx="6059123" cy="355998"/>
            </a:xfrm>
          </p:grpSpPr>
          <p:grpSp>
            <p:nvGrpSpPr>
              <p:cNvPr id="10" name="Google Shape;969;p49">
                <a:extLst>
                  <a:ext uri="{FF2B5EF4-FFF2-40B4-BE49-F238E27FC236}">
                    <a16:creationId xmlns:a16="http://schemas.microsoft.com/office/drawing/2014/main" id="{28074FEA-5079-116A-A910-D51CF2418292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2" name="Google Shape;970;p49">
                  <a:extLst>
                    <a:ext uri="{FF2B5EF4-FFF2-40B4-BE49-F238E27FC236}">
                      <a16:creationId xmlns:a16="http://schemas.microsoft.com/office/drawing/2014/main" id="{2DFDAB29-AEBD-82AC-3DE8-3EC63A0816E2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3" name="Google Shape;971;p49">
                  <a:extLst>
                    <a:ext uri="{FF2B5EF4-FFF2-40B4-BE49-F238E27FC236}">
                      <a16:creationId xmlns:a16="http://schemas.microsoft.com/office/drawing/2014/main" id="{FBEAD954-EFE2-3572-0D6B-9D1D9C36C6E3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1" name="Google Shape;972;p49">
                <a:extLst>
                  <a:ext uri="{FF2B5EF4-FFF2-40B4-BE49-F238E27FC236}">
                    <a16:creationId xmlns:a16="http://schemas.microsoft.com/office/drawing/2014/main" id="{1B372F55-8FA6-0AF0-9C2F-29BAA958B178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aphicFrame>
        <p:nvGraphicFramePr>
          <p:cNvPr id="30" name="Table 15">
            <a:extLst>
              <a:ext uri="{FF2B5EF4-FFF2-40B4-BE49-F238E27FC236}">
                <a16:creationId xmlns:a16="http://schemas.microsoft.com/office/drawing/2014/main" id="{31230D6E-31BB-A65F-C03D-81FDCC4008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4631459"/>
              </p:ext>
            </p:extLst>
          </p:nvPr>
        </p:nvGraphicFramePr>
        <p:xfrm>
          <a:off x="179512" y="3249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31" name="Google Shape;907;p48">
            <a:extLst>
              <a:ext uri="{FF2B5EF4-FFF2-40B4-BE49-F238E27FC236}">
                <a16:creationId xmlns:a16="http://schemas.microsoft.com/office/drawing/2014/main" id="{55F35038-0A7B-8C93-20F6-181DDEC31E99}"/>
              </a:ext>
            </a:extLst>
          </p:cNvPr>
          <p:cNvSpPr txBox="1"/>
          <p:nvPr/>
        </p:nvSpPr>
        <p:spPr>
          <a:xfrm>
            <a:off x="1167275" y="562920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خمسة.</a:t>
            </a:r>
            <a:endParaRPr dirty="0"/>
          </a:p>
        </p:txBody>
      </p:sp>
      <p:pic>
        <p:nvPicPr>
          <p:cNvPr id="32" name="Image 31">
            <a:extLst>
              <a:ext uri="{FF2B5EF4-FFF2-40B4-BE49-F238E27FC236}">
                <a16:creationId xmlns:a16="http://schemas.microsoft.com/office/drawing/2014/main" id="{52C8D88B-27BE-E333-EB03-09DC8174D2E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61038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B8629F1-D08F-D04E-0CC6-7B77187B99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93;p51">
            <a:extLst>
              <a:ext uri="{FF2B5EF4-FFF2-40B4-BE49-F238E27FC236}">
                <a16:creationId xmlns:a16="http://schemas.microsoft.com/office/drawing/2014/main" id="{D0F09E14-EE83-BFA4-A87F-3AF15058E2A0}"/>
              </a:ext>
            </a:extLst>
          </p:cNvPr>
          <p:cNvSpPr txBox="1"/>
          <p:nvPr/>
        </p:nvSpPr>
        <p:spPr>
          <a:xfrm>
            <a:off x="1135126" y="558946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مثلوا العدد خمسة بالأصابع هكذا. </a:t>
            </a:r>
            <a:endParaRPr dirty="0"/>
          </a:p>
        </p:txBody>
      </p:sp>
      <p:pic>
        <p:nvPicPr>
          <p:cNvPr id="3" name="Google Shape;995;p51">
            <a:extLst>
              <a:ext uri="{FF2B5EF4-FFF2-40B4-BE49-F238E27FC236}">
                <a16:creationId xmlns:a16="http://schemas.microsoft.com/office/drawing/2014/main" id="{29C859B6-47EE-EF57-1CA8-81E19F177E8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10905" y="1651000"/>
            <a:ext cx="2568030" cy="371770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996;p51">
            <a:extLst>
              <a:ext uri="{FF2B5EF4-FFF2-40B4-BE49-F238E27FC236}">
                <a16:creationId xmlns:a16="http://schemas.microsoft.com/office/drawing/2014/main" id="{D3818BEE-1E14-6BE0-753C-E352E1564F68}"/>
              </a:ext>
            </a:extLst>
          </p:cNvPr>
          <p:cNvSpPr/>
          <p:nvPr/>
        </p:nvSpPr>
        <p:spPr>
          <a:xfrm rot="21106979">
            <a:off x="4986639" y="1811308"/>
            <a:ext cx="3361606" cy="2016570"/>
          </a:xfrm>
          <a:prstGeom prst="ellipse">
            <a:avLst/>
          </a:prstGeom>
          <a:noFill/>
          <a:ln w="57150" cap="flat" cmpd="sng">
            <a:solidFill>
              <a:srgbClr val="38562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" name="Google Shape;997;p51">
            <a:extLst>
              <a:ext uri="{FF2B5EF4-FFF2-40B4-BE49-F238E27FC236}">
                <a16:creationId xmlns:a16="http://schemas.microsoft.com/office/drawing/2014/main" id="{D244DD70-6B79-F71A-2B9C-AFB8360B5B89}"/>
              </a:ext>
            </a:extLst>
          </p:cNvPr>
          <p:cNvGrpSpPr/>
          <p:nvPr/>
        </p:nvGrpSpPr>
        <p:grpSpPr>
          <a:xfrm rot="-1191369">
            <a:off x="5435088" y="2433361"/>
            <a:ext cx="2721474" cy="772463"/>
            <a:chOff x="2792445" y="3624663"/>
            <a:chExt cx="8440940" cy="1959682"/>
          </a:xfrm>
        </p:grpSpPr>
        <p:grpSp>
          <p:nvGrpSpPr>
            <p:cNvPr id="6" name="Google Shape;998;p51">
              <a:extLst>
                <a:ext uri="{FF2B5EF4-FFF2-40B4-BE49-F238E27FC236}">
                  <a16:creationId xmlns:a16="http://schemas.microsoft.com/office/drawing/2014/main" id="{345DFBF6-674A-4114-DA20-A1274CB7014F}"/>
                </a:ext>
              </a:extLst>
            </p:cNvPr>
            <p:cNvGrpSpPr/>
            <p:nvPr/>
          </p:nvGrpSpPr>
          <p:grpSpPr>
            <a:xfrm>
              <a:off x="2799199" y="3624663"/>
              <a:ext cx="4212000" cy="252000"/>
              <a:chOff x="2899386" y="3566977"/>
              <a:chExt cx="6059123" cy="355998"/>
            </a:xfrm>
          </p:grpSpPr>
          <p:grpSp>
            <p:nvGrpSpPr>
              <p:cNvPr id="27" name="Google Shape;999;p51">
                <a:extLst>
                  <a:ext uri="{FF2B5EF4-FFF2-40B4-BE49-F238E27FC236}">
                    <a16:creationId xmlns:a16="http://schemas.microsoft.com/office/drawing/2014/main" id="{AD0676EA-9515-7513-3479-B40BD2E54A60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29" name="Google Shape;1000;p51">
                  <a:extLst>
                    <a:ext uri="{FF2B5EF4-FFF2-40B4-BE49-F238E27FC236}">
                      <a16:creationId xmlns:a16="http://schemas.microsoft.com/office/drawing/2014/main" id="{7E0F1EBF-F9C5-9043-3A21-F5CC9BCDEA82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0" name="Google Shape;1001;p51">
                  <a:extLst>
                    <a:ext uri="{FF2B5EF4-FFF2-40B4-BE49-F238E27FC236}">
                      <a16:creationId xmlns:a16="http://schemas.microsoft.com/office/drawing/2014/main" id="{5EDE872E-85AE-2C44-3413-B62FB3773928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8" name="Google Shape;1002;p51">
                <a:extLst>
                  <a:ext uri="{FF2B5EF4-FFF2-40B4-BE49-F238E27FC236}">
                    <a16:creationId xmlns:a16="http://schemas.microsoft.com/office/drawing/2014/main" id="{991DFA49-6E55-5941-EBEF-7EAE2C4491D0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" name="Google Shape;1003;p51">
              <a:extLst>
                <a:ext uri="{FF2B5EF4-FFF2-40B4-BE49-F238E27FC236}">
                  <a16:creationId xmlns:a16="http://schemas.microsoft.com/office/drawing/2014/main" id="{5A84C70C-FB80-2CF2-5C4C-67791673356D}"/>
                </a:ext>
              </a:extLst>
            </p:cNvPr>
            <p:cNvGrpSpPr/>
            <p:nvPr/>
          </p:nvGrpSpPr>
          <p:grpSpPr>
            <a:xfrm>
              <a:off x="2809386" y="4519041"/>
              <a:ext cx="4212000" cy="255895"/>
              <a:chOff x="2899386" y="3566977"/>
              <a:chExt cx="6059123" cy="361501"/>
            </a:xfrm>
          </p:grpSpPr>
          <p:grpSp>
            <p:nvGrpSpPr>
              <p:cNvPr id="23" name="Google Shape;1004;p51">
                <a:extLst>
                  <a:ext uri="{FF2B5EF4-FFF2-40B4-BE49-F238E27FC236}">
                    <a16:creationId xmlns:a16="http://schemas.microsoft.com/office/drawing/2014/main" id="{4CFCB799-AB8E-C2AE-BC85-A0B75FE453C6}"/>
                  </a:ext>
                </a:extLst>
              </p:cNvPr>
              <p:cNvGrpSpPr/>
              <p:nvPr/>
            </p:nvGrpSpPr>
            <p:grpSpPr>
              <a:xfrm>
                <a:off x="2989588" y="3566977"/>
                <a:ext cx="5968921" cy="361501"/>
                <a:chOff x="2989588" y="3566977"/>
                <a:chExt cx="5968921" cy="361501"/>
              </a:xfrm>
            </p:grpSpPr>
            <p:sp>
              <p:nvSpPr>
                <p:cNvPr id="25" name="Google Shape;1005;p51">
                  <a:extLst>
                    <a:ext uri="{FF2B5EF4-FFF2-40B4-BE49-F238E27FC236}">
                      <a16:creationId xmlns:a16="http://schemas.microsoft.com/office/drawing/2014/main" id="{81EA4EB8-E0EF-975F-A89E-11CDC53E5B4C}"/>
                    </a:ext>
                  </a:extLst>
                </p:cNvPr>
                <p:cNvSpPr/>
                <p:nvPr/>
              </p:nvSpPr>
              <p:spPr>
                <a:xfrm>
                  <a:off x="2989588" y="3581930"/>
                  <a:ext cx="5908430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" name="Google Shape;1006;p51">
                  <a:extLst>
                    <a:ext uri="{FF2B5EF4-FFF2-40B4-BE49-F238E27FC236}">
                      <a16:creationId xmlns:a16="http://schemas.microsoft.com/office/drawing/2014/main" id="{BCC8C22A-DB61-A413-6836-C8FFBE2F7E93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4" name="Google Shape;1007;p51">
                <a:extLst>
                  <a:ext uri="{FF2B5EF4-FFF2-40B4-BE49-F238E27FC236}">
                    <a16:creationId xmlns:a16="http://schemas.microsoft.com/office/drawing/2014/main" id="{6E1AC076-307F-F0E8-6403-B73E658E78C8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" name="Google Shape;1008;p51">
              <a:extLst>
                <a:ext uri="{FF2B5EF4-FFF2-40B4-BE49-F238E27FC236}">
                  <a16:creationId xmlns:a16="http://schemas.microsoft.com/office/drawing/2014/main" id="{BC906A4F-D445-B5A7-67B4-05545086D43F}"/>
                </a:ext>
              </a:extLst>
            </p:cNvPr>
            <p:cNvGrpSpPr/>
            <p:nvPr/>
          </p:nvGrpSpPr>
          <p:grpSpPr>
            <a:xfrm>
              <a:off x="2792445" y="5332345"/>
              <a:ext cx="4212000" cy="252000"/>
              <a:chOff x="2899386" y="3566977"/>
              <a:chExt cx="6059123" cy="355998"/>
            </a:xfrm>
          </p:grpSpPr>
          <p:grpSp>
            <p:nvGrpSpPr>
              <p:cNvPr id="19" name="Google Shape;1009;p51">
                <a:extLst>
                  <a:ext uri="{FF2B5EF4-FFF2-40B4-BE49-F238E27FC236}">
                    <a16:creationId xmlns:a16="http://schemas.microsoft.com/office/drawing/2014/main" id="{4EE1C298-89D1-7F57-68ED-1ED28D971686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21" name="Google Shape;1010;p51">
                  <a:extLst>
                    <a:ext uri="{FF2B5EF4-FFF2-40B4-BE49-F238E27FC236}">
                      <a16:creationId xmlns:a16="http://schemas.microsoft.com/office/drawing/2014/main" id="{E11AD1F4-BEB2-9438-F9F1-B84ED385AE7C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" name="Google Shape;1011;p51">
                  <a:extLst>
                    <a:ext uri="{FF2B5EF4-FFF2-40B4-BE49-F238E27FC236}">
                      <a16:creationId xmlns:a16="http://schemas.microsoft.com/office/drawing/2014/main" id="{F25309F6-5A43-7E7C-4DF5-AE41E1F14D4F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0" name="Google Shape;1012;p51">
                <a:extLst>
                  <a:ext uri="{FF2B5EF4-FFF2-40B4-BE49-F238E27FC236}">
                    <a16:creationId xmlns:a16="http://schemas.microsoft.com/office/drawing/2014/main" id="{9F1BE279-21AD-1D53-B113-AB1C24BCEBD0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9" name="Google Shape;1013;p51">
              <a:extLst>
                <a:ext uri="{FF2B5EF4-FFF2-40B4-BE49-F238E27FC236}">
                  <a16:creationId xmlns:a16="http://schemas.microsoft.com/office/drawing/2014/main" id="{F528E3FA-9481-453A-E5E2-6F8F97AC629D}"/>
                </a:ext>
              </a:extLst>
            </p:cNvPr>
            <p:cNvGrpSpPr/>
            <p:nvPr/>
          </p:nvGrpSpPr>
          <p:grpSpPr>
            <a:xfrm>
              <a:off x="7021385" y="4070646"/>
              <a:ext cx="4212000" cy="252000"/>
              <a:chOff x="2899386" y="3566977"/>
              <a:chExt cx="6059123" cy="355998"/>
            </a:xfrm>
          </p:grpSpPr>
          <p:grpSp>
            <p:nvGrpSpPr>
              <p:cNvPr id="15" name="Google Shape;1014;p51">
                <a:extLst>
                  <a:ext uri="{FF2B5EF4-FFF2-40B4-BE49-F238E27FC236}">
                    <a16:creationId xmlns:a16="http://schemas.microsoft.com/office/drawing/2014/main" id="{3A07C92A-3FBB-86A5-F35F-62EE20DFBAF8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7" name="Google Shape;1015;p51">
                  <a:extLst>
                    <a:ext uri="{FF2B5EF4-FFF2-40B4-BE49-F238E27FC236}">
                      <a16:creationId xmlns:a16="http://schemas.microsoft.com/office/drawing/2014/main" id="{04AD4B97-244E-D0B7-992F-28C68ED24986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" name="Google Shape;1016;p51">
                  <a:extLst>
                    <a:ext uri="{FF2B5EF4-FFF2-40B4-BE49-F238E27FC236}">
                      <a16:creationId xmlns:a16="http://schemas.microsoft.com/office/drawing/2014/main" id="{5EE233C3-EB92-1235-B3F7-CF9C5AB14187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FFC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6" name="Google Shape;1017;p51">
                <a:extLst>
                  <a:ext uri="{FF2B5EF4-FFF2-40B4-BE49-F238E27FC236}">
                    <a16:creationId xmlns:a16="http://schemas.microsoft.com/office/drawing/2014/main" id="{F77A6D00-0FAC-83C2-84E7-1FF9B785CDCA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0" name="Google Shape;1018;p51">
              <a:extLst>
                <a:ext uri="{FF2B5EF4-FFF2-40B4-BE49-F238E27FC236}">
                  <a16:creationId xmlns:a16="http://schemas.microsoft.com/office/drawing/2014/main" id="{C23BECC6-29C3-09B4-60C0-350D6DD00955}"/>
                </a:ext>
              </a:extLst>
            </p:cNvPr>
            <p:cNvGrpSpPr/>
            <p:nvPr/>
          </p:nvGrpSpPr>
          <p:grpSpPr>
            <a:xfrm>
              <a:off x="7004445" y="4970375"/>
              <a:ext cx="4212000" cy="252000"/>
              <a:chOff x="2899386" y="3566977"/>
              <a:chExt cx="6059123" cy="355998"/>
            </a:xfrm>
          </p:grpSpPr>
          <p:grpSp>
            <p:nvGrpSpPr>
              <p:cNvPr id="11" name="Google Shape;1019;p51">
                <a:extLst>
                  <a:ext uri="{FF2B5EF4-FFF2-40B4-BE49-F238E27FC236}">
                    <a16:creationId xmlns:a16="http://schemas.microsoft.com/office/drawing/2014/main" id="{A14084E9-15E5-4A6B-DAF4-2C6B97328829}"/>
                  </a:ext>
                </a:extLst>
              </p:cNvPr>
              <p:cNvGrpSpPr/>
              <p:nvPr/>
            </p:nvGrpSpPr>
            <p:grpSpPr>
              <a:xfrm>
                <a:off x="2960078" y="3566977"/>
                <a:ext cx="5998431" cy="346548"/>
                <a:chOff x="2960078" y="3566977"/>
                <a:chExt cx="5998431" cy="346548"/>
              </a:xfrm>
            </p:grpSpPr>
            <p:sp>
              <p:nvSpPr>
                <p:cNvPr id="13" name="Google Shape;1020;p51">
                  <a:extLst>
                    <a:ext uri="{FF2B5EF4-FFF2-40B4-BE49-F238E27FC236}">
                      <a16:creationId xmlns:a16="http://schemas.microsoft.com/office/drawing/2014/main" id="{62889721-88E0-8E7D-9471-C176507DD2FA}"/>
                    </a:ext>
                  </a:extLst>
                </p:cNvPr>
                <p:cNvSpPr/>
                <p:nvPr/>
              </p:nvSpPr>
              <p:spPr>
                <a:xfrm>
                  <a:off x="2960078" y="3566977"/>
                  <a:ext cx="5908431" cy="3465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4" name="Google Shape;1021;p51">
                  <a:extLst>
                    <a:ext uri="{FF2B5EF4-FFF2-40B4-BE49-F238E27FC236}">
                      <a16:creationId xmlns:a16="http://schemas.microsoft.com/office/drawing/2014/main" id="{90F69ED0-03F5-D4B2-335E-08B1EB15BCB9}"/>
                    </a:ext>
                  </a:extLst>
                </p:cNvPr>
                <p:cNvSpPr/>
                <p:nvPr/>
              </p:nvSpPr>
              <p:spPr>
                <a:xfrm rot="10800000">
                  <a:off x="8778509" y="3566977"/>
                  <a:ext cx="180000" cy="324000"/>
                </a:xfrm>
                <a:prstGeom prst="moon">
                  <a:avLst>
                    <a:gd name="adj" fmla="val 50000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algn="ctr"/>
                  <a:endParaRPr sz="12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2" name="Google Shape;1022;p51">
                <a:extLst>
                  <a:ext uri="{FF2B5EF4-FFF2-40B4-BE49-F238E27FC236}">
                    <a16:creationId xmlns:a16="http://schemas.microsoft.com/office/drawing/2014/main" id="{01B2383F-E4C8-34EC-B240-C895FE6BEBDF}"/>
                  </a:ext>
                </a:extLst>
              </p:cNvPr>
              <p:cNvSpPr/>
              <p:nvPr/>
            </p:nvSpPr>
            <p:spPr>
              <a:xfrm>
                <a:off x="2899386" y="3598975"/>
                <a:ext cx="180000" cy="324000"/>
              </a:xfrm>
              <a:prstGeom prst="moon">
                <a:avLst>
                  <a:gd name="adj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algn="ctr"/>
                <a:endParaRPr sz="1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aphicFrame>
        <p:nvGraphicFramePr>
          <p:cNvPr id="31" name="Table 15">
            <a:extLst>
              <a:ext uri="{FF2B5EF4-FFF2-40B4-BE49-F238E27FC236}">
                <a16:creationId xmlns:a16="http://schemas.microsoft.com/office/drawing/2014/main" id="{D5331880-17D6-6F20-1AB0-D8AC1CF9DB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435136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32" name="Image 31">
            <a:extLst>
              <a:ext uri="{FF2B5EF4-FFF2-40B4-BE49-F238E27FC236}">
                <a16:creationId xmlns:a16="http://schemas.microsoft.com/office/drawing/2014/main" id="{19F0BFBB-0F17-E090-38DA-EF103677AC1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3" y="564882"/>
            <a:ext cx="1224769" cy="875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2512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F84FF84-6861-CE70-2269-8BE3CBABF5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B9D3EB25-EB59-19BF-4861-3EE265391625}"/>
              </a:ext>
            </a:extLst>
          </p:cNvPr>
          <p:cNvSpPr txBox="1"/>
          <p:nvPr/>
        </p:nvSpPr>
        <p:spPr>
          <a:xfrm>
            <a:off x="748380" y="524895"/>
            <a:ext cx="7806610" cy="392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lnSpc>
                <a:spcPct val="115000"/>
              </a:lnSpc>
              <a:spcAft>
                <a:spcPts val="800"/>
              </a:spcAft>
            </a:pP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ضعوا أدواتكم على الطاولة : الكراسة، قلم الرصاص</a:t>
            </a:r>
            <a:endParaRPr lang="fr-MA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9CC70245-25FE-E182-E54A-5CB9E6445A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22077" y="2367542"/>
            <a:ext cx="1390875" cy="212291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" name="Picture 2" descr="صور قلم رصاص PNG الصور | ناقل و PSD الملفات | تحميل مجاني على Pngtree">
            <a:extLst>
              <a:ext uri="{FF2B5EF4-FFF2-40B4-BE49-F238E27FC236}">
                <a16:creationId xmlns:a16="http://schemas.microsoft.com/office/drawing/2014/main" id="{763B5247-49DF-9298-A847-95D18E0711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6018" y="3045879"/>
            <a:ext cx="1444578" cy="1444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 : coins arrondis 20">
            <a:extLst>
              <a:ext uri="{FF2B5EF4-FFF2-40B4-BE49-F238E27FC236}">
                <a16:creationId xmlns:a16="http://schemas.microsoft.com/office/drawing/2014/main" id="{C275E308-6B9F-B788-57DA-48AC1369BE9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032309" y="4888456"/>
            <a:ext cx="1518287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قلم الرصاص</a:t>
            </a:r>
            <a:endParaRPr lang="fr-FR" sz="1600" b="1" dirty="0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64D82574-22C2-70BC-4658-F5DBC7A0031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222077" y="4892910"/>
            <a:ext cx="1373327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كراسة المتعلم</a:t>
            </a:r>
            <a:endParaRPr lang="fr-FR" sz="1600" b="1" dirty="0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graphicFrame>
        <p:nvGraphicFramePr>
          <p:cNvPr id="8" name="Table 15">
            <a:extLst>
              <a:ext uri="{FF2B5EF4-FFF2-40B4-BE49-F238E27FC236}">
                <a16:creationId xmlns:a16="http://schemas.microsoft.com/office/drawing/2014/main" id="{4B34F842-0E33-DF12-10D7-D9CED842A1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6080606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D783ECE7-6C7D-1C3D-7976-AB5A82D237B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435"/>
          <a:stretch/>
        </p:blipFill>
        <p:spPr>
          <a:xfrm>
            <a:off x="262867" y="401231"/>
            <a:ext cx="1265030" cy="1119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77525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9564605-AA2B-4345-BDCC-8949E02A8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149A8E21-6E1F-8700-ECF0-2D618B04A3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67163" y="1444309"/>
            <a:ext cx="6208883" cy="5031757"/>
          </a:xfrm>
          <a:prstGeom prst="rect">
            <a:avLst/>
          </a:prstGeom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1433343-0B58-51E7-525F-0E71BAF241D5}"/>
              </a:ext>
            </a:extLst>
          </p:cNvPr>
          <p:cNvSpPr/>
          <p:nvPr/>
        </p:nvSpPr>
        <p:spPr>
          <a:xfrm>
            <a:off x="1635750" y="1628254"/>
            <a:ext cx="2736304" cy="2474513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Flèche : bas 3">
            <a:extLst>
              <a:ext uri="{FF2B5EF4-FFF2-40B4-BE49-F238E27FC236}">
                <a16:creationId xmlns:a16="http://schemas.microsoft.com/office/drawing/2014/main" id="{E891E68E-6877-E5B2-0CB9-F2041790CFE3}"/>
              </a:ext>
            </a:extLst>
          </p:cNvPr>
          <p:cNvSpPr/>
          <p:nvPr/>
        </p:nvSpPr>
        <p:spPr>
          <a:xfrm>
            <a:off x="2859886" y="803447"/>
            <a:ext cx="504056" cy="748762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5" name="Table 15">
            <a:extLst>
              <a:ext uri="{FF2B5EF4-FFF2-40B4-BE49-F238E27FC236}">
                <a16:creationId xmlns:a16="http://schemas.microsoft.com/office/drawing/2014/main" id="{95248005-EB6A-037B-3FF6-BA108D0B287E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B188CB11-9FE2-2A22-C350-B6425F9338BA}"/>
              </a:ext>
            </a:extLst>
          </p:cNvPr>
          <p:cNvSpPr txBox="1"/>
          <p:nvPr/>
        </p:nvSpPr>
        <p:spPr>
          <a:xfrm>
            <a:off x="1166778" y="562563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سأعد مجموعة الفيلة وأصلها بعدد الأصابع المناسب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8544C735-E329-90F4-B18B-9B10FB40C35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73821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BDD9C5-6E80-4A2B-79A4-964B2A77CE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018A46FB-35C0-97C3-8172-09B0839AC5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3" t="6748" r="53214" b="48090"/>
          <a:stretch/>
        </p:blipFill>
        <p:spPr>
          <a:xfrm>
            <a:off x="2795665" y="1851081"/>
            <a:ext cx="3552669" cy="3155837"/>
          </a:xfrm>
          <a:prstGeom prst="rect">
            <a:avLst/>
          </a:prstGeom>
        </p:spPr>
      </p:pic>
      <p:graphicFrame>
        <p:nvGraphicFramePr>
          <p:cNvPr id="5" name="Table 15">
            <a:extLst>
              <a:ext uri="{FF2B5EF4-FFF2-40B4-BE49-F238E27FC236}">
                <a16:creationId xmlns:a16="http://schemas.microsoft.com/office/drawing/2014/main" id="{5F46232A-FD03-848B-7456-E676D82CCB2B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4BC6F698-DBF0-9A65-6DE3-C44794DFF3F5}"/>
              </a:ext>
            </a:extLst>
          </p:cNvPr>
          <p:cNvSpPr txBox="1"/>
          <p:nvPr/>
        </p:nvSpPr>
        <p:spPr>
          <a:xfrm>
            <a:off x="1166778" y="562563"/>
            <a:ext cx="7315199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أعد الفيلة. ..... واحد، اثنان.</a:t>
            </a:r>
          </a:p>
          <a:p>
            <a:pPr algn="r" rtl="1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ضع المدرس أصبعه على كل فيل يعده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AFDB0DE-47B0-F1EF-4984-D07BE934F54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58762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E9ED601-AE4B-F0AF-B685-275E1C61A0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15">
            <a:extLst>
              <a:ext uri="{FF2B5EF4-FFF2-40B4-BE49-F238E27FC236}">
                <a16:creationId xmlns:a16="http://schemas.microsoft.com/office/drawing/2014/main" id="{2160D91B-FC69-A334-B0C7-CBF620D80547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EC60F01B-0FA3-0224-4FD3-E3AD30816A0B}"/>
              </a:ext>
            </a:extLst>
          </p:cNvPr>
          <p:cNvSpPr txBox="1"/>
          <p:nvPr/>
        </p:nvSpPr>
        <p:spPr>
          <a:xfrm>
            <a:off x="1166778" y="562563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في المجموعة فيلان اثنان ... اثنان.</a:t>
            </a:r>
            <a:endParaRPr lang="ar-MA"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E8DCE32D-FDCA-E24E-FB26-9BBC88E5B34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B656C45-0823-585B-6635-4119E77DA9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3" t="6748" r="53214" b="48090"/>
          <a:stretch/>
        </p:blipFill>
        <p:spPr>
          <a:xfrm>
            <a:off x="2545658" y="1851080"/>
            <a:ext cx="4052683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83571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89D44D1-D290-9E0C-B310-7B1FAAE08A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4664E3D2-A599-5100-F8EF-6012848F7C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" t="6151" r="58927" b="49758"/>
          <a:stretch/>
        </p:blipFill>
        <p:spPr>
          <a:xfrm>
            <a:off x="2511763" y="1843789"/>
            <a:ext cx="3799096" cy="3439837"/>
          </a:xfrm>
          <a:prstGeom prst="rect">
            <a:avLst/>
          </a:prstGeom>
        </p:spPr>
      </p:pic>
      <p:graphicFrame>
        <p:nvGraphicFramePr>
          <p:cNvPr id="5" name="Table 15">
            <a:extLst>
              <a:ext uri="{FF2B5EF4-FFF2-40B4-BE49-F238E27FC236}">
                <a16:creationId xmlns:a16="http://schemas.microsoft.com/office/drawing/2014/main" id="{6C6DCF88-0A8E-1644-A9AE-DCD9431FB5DE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5AFCCCB8-F662-69CA-2C7F-80B1594833F4}"/>
              </a:ext>
            </a:extLst>
          </p:cNvPr>
          <p:cNvSpPr txBox="1"/>
          <p:nvPr/>
        </p:nvSpPr>
        <p:spPr>
          <a:xfrm>
            <a:off x="1166778" y="562563"/>
            <a:ext cx="7315199" cy="34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أصل بخط الفيلين بأصبعين هكذا.</a:t>
            </a:r>
            <a:endParaRPr lang="ar-MA"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CF51A0A-4ED6-A71A-22AC-557BE113489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1472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A5913DB5-F681-AADA-AA9B-503BB3C38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13DB5-F681-AADA-AA9B-503BB3C38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 t="-5555" b="-5555"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394223" y="767701"/>
            <a:ext cx="8636000" cy="5596244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457223"/>
              <a:endParaRPr lang="fr-MA"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just" defTabSz="457223">
                <a:lnSpc>
                  <a:spcPts val="1605"/>
                </a:lnSpc>
              </a:pPr>
              <a:endParaRPr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" name="Freeform 7"/>
          <p:cNvSpPr/>
          <p:nvPr/>
        </p:nvSpPr>
        <p:spPr>
          <a:xfrm>
            <a:off x="8077201" y="294200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5" name="ZoneTexte 5">
            <a:extLst>
              <a:ext uri="{FF2B5EF4-FFF2-40B4-BE49-F238E27FC236}">
                <a16:creationId xmlns:a16="http://schemas.microsoft.com/office/drawing/2014/main" id="{ABA2A6A3-1EDB-77CA-044F-205840F96C09}"/>
              </a:ext>
            </a:extLst>
          </p:cNvPr>
          <p:cNvSpPr txBox="1"/>
          <p:nvPr/>
        </p:nvSpPr>
        <p:spPr>
          <a:xfrm>
            <a:off x="-76199" y="365553"/>
            <a:ext cx="1752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MA" sz="1600" i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اص بالأستاذ</a:t>
            </a:r>
            <a:endParaRPr lang="fr-MA" sz="1600" i="1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F83E8F-A2D4-86F5-970B-0187137D8890}"/>
              </a:ext>
            </a:extLst>
          </p:cNvPr>
          <p:cNvSpPr txBox="1"/>
          <p:nvPr/>
        </p:nvSpPr>
        <p:spPr>
          <a:xfrm>
            <a:off x="1489665" y="1365589"/>
            <a:ext cx="6164669" cy="4072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3334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راحل الحصة</a:t>
            </a:r>
          </a:p>
        </p:txBody>
      </p:sp>
      <p:sp>
        <p:nvSpPr>
          <p:cNvPr id="55" name="Flowchart: Alternate Process 54">
            <a:extLst>
              <a:ext uri="{FF2B5EF4-FFF2-40B4-BE49-F238E27FC236}">
                <a16:creationId xmlns:a16="http://schemas.microsoft.com/office/drawing/2014/main" id="{794675B7-0983-E62A-CE83-0D53902CBAF5}"/>
              </a:ext>
            </a:extLst>
          </p:cNvPr>
          <p:cNvSpPr/>
          <p:nvPr/>
        </p:nvSpPr>
        <p:spPr>
          <a:xfrm>
            <a:off x="942774" y="2044679"/>
            <a:ext cx="6624649" cy="676858"/>
          </a:xfrm>
          <a:prstGeom prst="flowChartAlternateProcess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85834" rtl="1">
              <a:defRPr/>
            </a:pPr>
            <a:r>
              <a:rPr lang="ar-MA" sz="2400" b="1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فتتاح </a:t>
            </a:r>
            <a:r>
              <a:rPr lang="en-GB" sz="2400" b="1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MA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حصة</a:t>
            </a:r>
            <a:endParaRPr lang="en-US" sz="2000" b="1" dirty="0">
              <a:solidFill>
                <a:srgbClr val="01070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2FBB3B0C-23A8-D891-890D-6C357D009A48}"/>
              </a:ext>
            </a:extLst>
          </p:cNvPr>
          <p:cNvSpPr>
            <a:spLocks noChangeAspect="1"/>
          </p:cNvSpPr>
          <p:nvPr/>
        </p:nvSpPr>
        <p:spPr>
          <a:xfrm>
            <a:off x="7822339" y="2185454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/>
              <a:t>1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496B13D3-E5C7-F1F4-06A9-715BD43ACA53}"/>
              </a:ext>
            </a:extLst>
          </p:cNvPr>
          <p:cNvSpPr>
            <a:spLocks noChangeAspect="1"/>
          </p:cNvSpPr>
          <p:nvPr/>
        </p:nvSpPr>
        <p:spPr>
          <a:xfrm>
            <a:off x="7822339" y="2980002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 dirty="0"/>
              <a:t>2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CB1128EE-BBC6-B3AE-BD21-A80CB5767686}"/>
              </a:ext>
            </a:extLst>
          </p:cNvPr>
          <p:cNvSpPr>
            <a:spLocks noChangeAspect="1"/>
          </p:cNvSpPr>
          <p:nvPr/>
        </p:nvSpPr>
        <p:spPr>
          <a:xfrm>
            <a:off x="7822339" y="3774550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 dirty="0"/>
              <a:t>3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88401652-24E5-3103-FE29-B939B4B963C3}"/>
              </a:ext>
            </a:extLst>
          </p:cNvPr>
          <p:cNvSpPr>
            <a:spLocks noChangeAspect="1"/>
          </p:cNvSpPr>
          <p:nvPr/>
        </p:nvSpPr>
        <p:spPr>
          <a:xfrm>
            <a:off x="7822339" y="4569098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 dirty="0"/>
              <a:t>4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9F7B7C7-4B93-4E6D-E1B4-4CE13AC7905C}"/>
              </a:ext>
            </a:extLst>
          </p:cNvPr>
          <p:cNvSpPr/>
          <p:nvPr/>
        </p:nvSpPr>
        <p:spPr>
          <a:xfrm>
            <a:off x="942774" y="2968076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نشطة تمهيدية </a:t>
            </a:r>
            <a:endParaRPr lang="en-GB" sz="1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4942DF5-7E1C-77B7-B92E-FF94A01BA5F8}"/>
              </a:ext>
            </a:extLst>
          </p:cNvPr>
          <p:cNvSpPr/>
          <p:nvPr/>
        </p:nvSpPr>
        <p:spPr>
          <a:xfrm>
            <a:off x="942774" y="3753423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نشاط الرئيسي</a:t>
            </a:r>
            <a:endParaRPr lang="en-GB" sz="1600" b="1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F3A5224-A56C-ACDB-21B0-E21C05BDBA2A}"/>
              </a:ext>
            </a:extLst>
          </p:cNvPr>
          <p:cNvSpPr/>
          <p:nvPr/>
        </p:nvSpPr>
        <p:spPr>
          <a:xfrm>
            <a:off x="942774" y="4481108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نشطة التدرب والتعمق : ممارسة مستقلة</a:t>
            </a:r>
            <a:endParaRPr lang="en-GB" sz="1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79275E6-91BD-A54F-27CE-284F2B58AB0A}"/>
              </a:ext>
            </a:extLst>
          </p:cNvPr>
          <p:cNvSpPr/>
          <p:nvPr/>
        </p:nvSpPr>
        <p:spPr>
          <a:xfrm>
            <a:off x="942774" y="5266456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ختتام الحصة</a:t>
            </a:r>
            <a:endParaRPr lang="en-GB" sz="1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580D002-A49D-75B9-6715-FA7D5D442058}"/>
              </a:ext>
            </a:extLst>
          </p:cNvPr>
          <p:cNvSpPr>
            <a:spLocks noChangeAspect="1"/>
          </p:cNvSpPr>
          <p:nvPr/>
        </p:nvSpPr>
        <p:spPr>
          <a:xfrm>
            <a:off x="7822339" y="5363646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ar-MA" sz="2133" b="1" dirty="0"/>
              <a:t>5</a:t>
            </a:r>
            <a:endParaRPr lang="fr-MA" sz="2133" b="1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B7DACC11-8883-43BA-0045-A64F08EF336C}"/>
              </a:ext>
            </a:extLst>
          </p:cNvPr>
          <p:cNvSpPr txBox="1"/>
          <p:nvPr/>
        </p:nvSpPr>
        <p:spPr>
          <a:xfrm>
            <a:off x="2043607" y="1284417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ar-MA" sz="20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5 دقيقة</a:t>
            </a:r>
            <a:r>
              <a:rPr lang="fr-FR" sz="20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pic>
        <p:nvPicPr>
          <p:cNvPr id="16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7A853738-C672-50F8-5AD8-5EB08FA262B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9" y="3329716"/>
            <a:ext cx="1260978" cy="1248796"/>
          </a:xfrm>
          <a:prstGeom prst="rect">
            <a:avLst/>
          </a:prstGeom>
        </p:spPr>
      </p:pic>
      <p:graphicFrame>
        <p:nvGraphicFramePr>
          <p:cNvPr id="6" name="think-cell data - do not delete">
            <a:extLst>
              <a:ext uri="{FF2B5EF4-FFF2-40B4-BE49-F238E27FC236}">
                <a16:creationId xmlns:a16="http://schemas.microsoft.com/office/drawing/2014/main" id="{09EE0638-98C0-62FD-E164-56A146DDC7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07661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6" name="think-cell data - do not delete">
                        <a:extLst>
                          <a:ext uri="{FF2B5EF4-FFF2-40B4-BE49-F238E27FC236}">
                            <a16:creationId xmlns:a16="http://schemas.microsoft.com/office/drawing/2014/main" id="{09EE0638-98C0-62FD-E164-56A146DDC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8B756E45-CD39-3D74-08FC-4FE5B27CB00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9" y="1596010"/>
            <a:ext cx="1260978" cy="1248796"/>
          </a:xfrm>
          <a:prstGeom prst="rect">
            <a:avLst/>
          </a:prstGeom>
        </p:spPr>
      </p:pic>
      <p:pic>
        <p:nvPicPr>
          <p:cNvPr id="22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39A0D91B-49AA-FE38-8017-6AFDD4FF8DE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69" y="4891800"/>
            <a:ext cx="1260978" cy="124879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FE47017-CF62-AAAB-DF46-0BC241C45D79}"/>
              </a:ext>
            </a:extLst>
          </p:cNvPr>
          <p:cNvSpPr/>
          <p:nvPr/>
        </p:nvSpPr>
        <p:spPr>
          <a:xfrm>
            <a:off x="148418" y="5761882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دقائق</a:t>
            </a:r>
            <a:endParaRPr lang="en-US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1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1757506C-50D7-A64A-6E9F-85C129F32AC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44" y="4069818"/>
            <a:ext cx="1260978" cy="124879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AF662B8-77F3-6D4F-B3AB-8BDC7477F64A}"/>
              </a:ext>
            </a:extLst>
          </p:cNvPr>
          <p:cNvSpPr/>
          <p:nvPr/>
        </p:nvSpPr>
        <p:spPr>
          <a:xfrm>
            <a:off x="137648" y="4199798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 دقائق</a:t>
            </a:r>
            <a:endParaRPr lang="en-US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4FE242-C8D3-94E9-8D6F-95198A53CE5C}"/>
              </a:ext>
            </a:extLst>
          </p:cNvPr>
          <p:cNvSpPr/>
          <p:nvPr/>
        </p:nvSpPr>
        <p:spPr>
          <a:xfrm>
            <a:off x="109393" y="4939900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 دقيقة</a:t>
            </a:r>
            <a:endParaRPr lang="en-US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4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7A579DC5-FA5C-DEBA-8367-C2D2DA35744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10" y="2466947"/>
            <a:ext cx="1260978" cy="1248796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AE20C5C7-AA8C-7A53-6522-12C00311AAE8}"/>
              </a:ext>
            </a:extLst>
          </p:cNvPr>
          <p:cNvSpPr/>
          <p:nvPr/>
        </p:nvSpPr>
        <p:spPr>
          <a:xfrm>
            <a:off x="129059" y="3337029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 دقيقة</a:t>
            </a:r>
            <a:endParaRPr lang="en-US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512E85-08B4-5DDF-9966-C4BF3F3A17DA}"/>
              </a:ext>
            </a:extLst>
          </p:cNvPr>
          <p:cNvSpPr/>
          <p:nvPr/>
        </p:nvSpPr>
        <p:spPr>
          <a:xfrm>
            <a:off x="137648" y="2466092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دقائق</a:t>
            </a:r>
            <a:endParaRPr lang="en-US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276623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A387E72-5952-29BE-AD20-0FCF9F2D7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A6D5A2FC-763A-6D16-D68D-1EFCCBEFF64F}"/>
              </a:ext>
            </a:extLst>
          </p:cNvPr>
          <p:cNvSpPr txBox="1"/>
          <p:nvPr/>
        </p:nvSpPr>
        <p:spPr>
          <a:xfrm>
            <a:off x="395536" y="557363"/>
            <a:ext cx="809227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آن دوركم. صلوا بخط مجموعة الكلاب بعدد الأصابع المناسب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9CE61968-9439-95C7-C2D2-5DD28EB8CE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1376" y="1444309"/>
            <a:ext cx="6320457" cy="5031757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E84DC3BE-F850-5A0C-1F96-5FBE460E3672}"/>
              </a:ext>
            </a:extLst>
          </p:cNvPr>
          <p:cNvSpPr/>
          <p:nvPr/>
        </p:nvSpPr>
        <p:spPr>
          <a:xfrm>
            <a:off x="4788024" y="1844824"/>
            <a:ext cx="2736304" cy="22322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Flèche : bas 4">
            <a:extLst>
              <a:ext uri="{FF2B5EF4-FFF2-40B4-BE49-F238E27FC236}">
                <a16:creationId xmlns:a16="http://schemas.microsoft.com/office/drawing/2014/main" id="{5A75AC68-475D-99AF-D8E0-E01D4F3EBE74}"/>
              </a:ext>
            </a:extLst>
          </p:cNvPr>
          <p:cNvSpPr/>
          <p:nvPr/>
        </p:nvSpPr>
        <p:spPr>
          <a:xfrm>
            <a:off x="5904148" y="1181972"/>
            <a:ext cx="504056" cy="675455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10DAD16-0447-7F19-3F84-036782CFE5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graphicFrame>
        <p:nvGraphicFramePr>
          <p:cNvPr id="7" name="Table 15">
            <a:extLst>
              <a:ext uri="{FF2B5EF4-FFF2-40B4-BE49-F238E27FC236}">
                <a16:creationId xmlns:a16="http://schemas.microsoft.com/office/drawing/2014/main" id="{149ED88A-3354-754B-CB9E-559D374A51D4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53006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A65FD7E-4007-3D91-1650-842D46816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D52B3D9B-51C3-4529-0E47-951A9C3D4D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1720" y="2204864"/>
            <a:ext cx="4320480" cy="3022400"/>
          </a:xfrm>
          <a:prstGeom prst="rect">
            <a:avLst/>
          </a:prstGeom>
          <a:effectLst/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50214C51-BB0B-9921-5807-CC4C4DD42D0C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كل واحد منكم يشرح لزميله كيف قام بذلك.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FB5958C6-426B-D9A9-7A5C-7AF5AD870B9D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438269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B6CD1C2-A4ED-B29B-6D73-1F17387649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7">
            <a:extLst>
              <a:ext uri="{FF2B5EF4-FFF2-40B4-BE49-F238E27FC236}">
                <a16:creationId xmlns:a16="http://schemas.microsoft.com/office/drawing/2014/main" id="{14E1637D-EDCB-31C0-2C4F-4D4486BDA0D4}"/>
              </a:ext>
            </a:extLst>
          </p:cNvPr>
          <p:cNvSpPr txBox="1"/>
          <p:nvPr/>
        </p:nvSpPr>
        <p:spPr>
          <a:xfrm>
            <a:off x="890585" y="551818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عدد الأصابع المناسبة.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 descr="Une image contenant dessin humoristique, clipart, dessin, Dessin d’enfant&#10;&#10;Description générée automatiquement">
            <a:extLst>
              <a:ext uri="{FF2B5EF4-FFF2-40B4-BE49-F238E27FC236}">
                <a16:creationId xmlns:a16="http://schemas.microsoft.com/office/drawing/2014/main" id="{C3973AF5-3024-F770-1655-C963829C4F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301" y="1484784"/>
            <a:ext cx="3225397" cy="4749206"/>
          </a:xfrm>
          <a:prstGeom prst="rect">
            <a:avLst/>
          </a:prstGeom>
        </p:spPr>
      </p:pic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B3136130-34C6-8EA5-DC61-1688D9A9E86E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672150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7F5B224-88D1-4DC8-3C26-5FC8B837A0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A11F8ACC-9EC3-2C17-89D5-EBC211BABB5B}"/>
              </a:ext>
            </a:extLst>
          </p:cNvPr>
          <p:cNvSpPr txBox="1"/>
          <p:nvPr/>
        </p:nvSpPr>
        <p:spPr>
          <a:xfrm>
            <a:off x="647564" y="541960"/>
            <a:ext cx="7848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من يقوم إلى السبورة ليشرح لنا كيف توصل للحل. صححوا على كراستكم. </a:t>
            </a:r>
          </a:p>
        </p:txBody>
      </p:sp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AB889D41-E094-6873-B6E6-0D565B842FBA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5DB20F1C-E091-FE4A-AD20-822036E6FA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1376" y="1444309"/>
            <a:ext cx="6320457" cy="5031757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D357E901-A103-3F60-F66E-8A1FBF6584E9}"/>
              </a:ext>
            </a:extLst>
          </p:cNvPr>
          <p:cNvSpPr/>
          <p:nvPr/>
        </p:nvSpPr>
        <p:spPr>
          <a:xfrm>
            <a:off x="4788024" y="1844824"/>
            <a:ext cx="2736304" cy="22322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4DE64CC5-FE6E-5E14-BD85-3720121D9E9E}"/>
              </a:ext>
            </a:extLst>
          </p:cNvPr>
          <p:cNvCxnSpPr>
            <a:cxnSpLocks/>
          </p:cNvCxnSpPr>
          <p:nvPr/>
        </p:nvCxnSpPr>
        <p:spPr>
          <a:xfrm flipH="1">
            <a:off x="5751095" y="2948916"/>
            <a:ext cx="417113" cy="311641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>
            <a:extLst>
              <a:ext uri="{FF2B5EF4-FFF2-40B4-BE49-F238E27FC236}">
                <a16:creationId xmlns:a16="http://schemas.microsoft.com/office/drawing/2014/main" id="{DD3C63E0-C3D7-36DD-4635-3140CAB187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541960"/>
            <a:ext cx="1231864" cy="1043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5519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77FC0D-F386-3377-7F0C-D39DF5771C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8BBB3691-246B-96FA-37BA-6FE771889FCA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346EBC9-4F2C-B60B-634D-66FA694C9CE1}"/>
              </a:ext>
            </a:extLst>
          </p:cNvPr>
          <p:cNvSpPr txBox="1"/>
          <p:nvPr/>
        </p:nvSpPr>
        <p:spPr>
          <a:xfrm>
            <a:off x="1187624" y="230809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النشاط الرئيسي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6C5BE00B-1886-F465-D216-6F796976D94F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E57E8D48-8C69-6DF2-6E67-F682F30B7644}"/>
              </a:ext>
            </a:extLst>
          </p:cNvPr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C30236-B447-B169-9405-9DC9EF6FBA2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476472" y="3396921"/>
            <a:ext cx="2191056" cy="236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57096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59391A7-56A4-5531-97EF-F686B5D880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A32DAA76-E301-9D9E-5B5C-DF922576BF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4439831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4EBC4AF-1803-FD1A-584A-2C3CE62B1C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6932" y="2384352"/>
            <a:ext cx="7890148" cy="3326293"/>
          </a:xfrm>
          <a:prstGeom prst="rect">
            <a:avLst/>
          </a:prstGeom>
        </p:spPr>
      </p:pic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57F36A14-4372-10C1-A8D5-CB54CA17CDD6}"/>
              </a:ext>
            </a:extLst>
          </p:cNvPr>
          <p:cNvSpPr/>
          <p:nvPr/>
        </p:nvSpPr>
        <p:spPr>
          <a:xfrm>
            <a:off x="506932" y="2342765"/>
            <a:ext cx="7809484" cy="339049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C8ECF37-C153-40B9-E302-088C025F2CF1}"/>
              </a:ext>
            </a:extLst>
          </p:cNvPr>
          <p:cNvSpPr txBox="1"/>
          <p:nvPr/>
        </p:nvSpPr>
        <p:spPr>
          <a:xfrm>
            <a:off x="304801" y="529064"/>
            <a:ext cx="8092279" cy="379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ننتقل الآن إلى النشاط 2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4E343FD-CA2C-B54A-BB5D-56AB899E082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42793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EA8C584-2E15-3363-404A-CDE1EAF9C4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721D9EF3-E7A0-19BD-B18F-D54AA624CA36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B4101F1D-995C-F848-53BC-D45F148741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6932" y="2384352"/>
            <a:ext cx="7890148" cy="3326293"/>
          </a:xfrm>
          <a:prstGeom prst="rect">
            <a:avLst/>
          </a:prstGeom>
        </p:spPr>
      </p:pic>
      <p:sp>
        <p:nvSpPr>
          <p:cNvPr id="7" name="Flèche : bas 6">
            <a:extLst>
              <a:ext uri="{FF2B5EF4-FFF2-40B4-BE49-F238E27FC236}">
                <a16:creationId xmlns:a16="http://schemas.microsoft.com/office/drawing/2014/main" id="{302AC1B4-91E9-BCEA-3244-FDEE39716A6E}"/>
              </a:ext>
            </a:extLst>
          </p:cNvPr>
          <p:cNvSpPr/>
          <p:nvPr/>
        </p:nvSpPr>
        <p:spPr>
          <a:xfrm>
            <a:off x="1400636" y="2059815"/>
            <a:ext cx="504056" cy="64907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DB70C03-E15B-671B-2C37-EFBF982322C1}"/>
              </a:ext>
            </a:extLst>
          </p:cNvPr>
          <p:cNvSpPr txBox="1"/>
          <p:nvPr/>
        </p:nvSpPr>
        <p:spPr>
          <a:xfrm>
            <a:off x="304801" y="529064"/>
            <a:ext cx="8092279" cy="379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هذه مروحية . سأعد المروحيات وأصلها بعدد الأصابع المناسب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EE13580-2748-7283-CFA1-5FE6B416789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BC3D2833-5B3F-0815-3E5F-AC00E9A957E1}"/>
              </a:ext>
            </a:extLst>
          </p:cNvPr>
          <p:cNvSpPr/>
          <p:nvPr/>
        </p:nvSpPr>
        <p:spPr>
          <a:xfrm>
            <a:off x="506932" y="2851456"/>
            <a:ext cx="2192860" cy="136963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355015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3D4946D-F8D1-F9F7-BE33-F59CAC57BF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CAA8DF42-C029-675C-9DB0-4D7FA3381456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754AC04F-1C78-F3AA-8FC1-B245337E73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6932" y="2384352"/>
            <a:ext cx="7890148" cy="3326293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810A0A47-26B4-9CD3-7577-4EF0DF010A75}"/>
              </a:ext>
            </a:extLst>
          </p:cNvPr>
          <p:cNvSpPr txBox="1"/>
          <p:nvPr/>
        </p:nvSpPr>
        <p:spPr>
          <a:xfrm>
            <a:off x="304801" y="529064"/>
            <a:ext cx="8092279" cy="379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واحد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FEBDD0B4-78F3-199E-A922-0F514A37FD9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D6CA2B32-1C05-69C5-7D3E-3EACB4C2A5EB}"/>
              </a:ext>
            </a:extLst>
          </p:cNvPr>
          <p:cNvSpPr/>
          <p:nvPr/>
        </p:nvSpPr>
        <p:spPr>
          <a:xfrm>
            <a:off x="506932" y="2851456"/>
            <a:ext cx="2192860" cy="136963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D26DBAA-EECE-02EB-5F8E-553C74B172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83118" y="3300184"/>
            <a:ext cx="1116674" cy="1199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68187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FC428FE-BAB2-5300-BEDA-4324103EE6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9DB0D743-4008-E8D2-6E7D-AE04EBFFC462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8" name="ZoneTexte 7">
            <a:extLst>
              <a:ext uri="{FF2B5EF4-FFF2-40B4-BE49-F238E27FC236}">
                <a16:creationId xmlns:a16="http://schemas.microsoft.com/office/drawing/2014/main" id="{F2B84E04-2B2B-8CB4-FED7-7C1E1D0BCF01}"/>
              </a:ext>
            </a:extLst>
          </p:cNvPr>
          <p:cNvSpPr txBox="1"/>
          <p:nvPr/>
        </p:nvSpPr>
        <p:spPr>
          <a:xfrm>
            <a:off x="304801" y="529064"/>
            <a:ext cx="8092279" cy="379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صل بخط المروحية بأصبع واحد هكذا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CD604E67-FCF8-8F43-5D3E-66149BFC20A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49B6BC5-0515-6AE2-9C94-EB3D16E488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3138" y="2286000"/>
            <a:ext cx="7975974" cy="3424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82492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2953363-631A-F6E4-13BB-B3CB6D61BB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85F833C8-8CFA-FD6C-4B0C-5B98E6D204BE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88DF61F5-1885-9CE6-3958-2708A9778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706" y="529064"/>
            <a:ext cx="1440305" cy="1234547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B89586A4-277F-0D19-2BD1-FECAC12BFD42}"/>
              </a:ext>
            </a:extLst>
          </p:cNvPr>
          <p:cNvSpPr txBox="1"/>
          <p:nvPr/>
        </p:nvSpPr>
        <p:spPr>
          <a:xfrm>
            <a:off x="4067944" y="1988840"/>
            <a:ext cx="1367682" cy="3154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MA" sz="19900" b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7" name="ZoneTexte 4">
            <a:extLst>
              <a:ext uri="{FF2B5EF4-FFF2-40B4-BE49-F238E27FC236}">
                <a16:creationId xmlns:a16="http://schemas.microsoft.com/office/drawing/2014/main" id="{88A82FB8-6394-3A45-537A-EBFDB0AA9197}"/>
              </a:ext>
            </a:extLst>
          </p:cNvPr>
          <p:cNvSpPr txBox="1"/>
          <p:nvPr/>
        </p:nvSpPr>
        <p:spPr>
          <a:xfrm>
            <a:off x="304801" y="539388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نبغي أن نتذكر خطوات العد والتمثيل بالأصابع. ماهي الخطوة الأولى؟</a:t>
            </a:r>
          </a:p>
        </p:txBody>
      </p:sp>
    </p:spTree>
    <p:extLst>
      <p:ext uri="{BB962C8B-B14F-4D97-AF65-F5344CB8AC3E}">
        <p14:creationId xmlns:p14="http://schemas.microsoft.com/office/powerpoint/2010/main" val="10378679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A5913DB5-F681-AADA-AA9B-503BB3C38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13DB5-F681-AADA-AA9B-503BB3C38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254000" y="736600"/>
            <a:ext cx="8636000" cy="5596244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457223"/>
              <a:endParaRPr lang="fr-MA"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just" defTabSz="457223">
                <a:lnSpc>
                  <a:spcPts val="1605"/>
                </a:lnSpc>
              </a:pPr>
              <a:endParaRPr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" name="Freeform 7"/>
          <p:cNvSpPr/>
          <p:nvPr/>
        </p:nvSpPr>
        <p:spPr>
          <a:xfrm>
            <a:off x="8077201" y="294200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5" name="ZoneTexte 5">
            <a:extLst>
              <a:ext uri="{FF2B5EF4-FFF2-40B4-BE49-F238E27FC236}">
                <a16:creationId xmlns:a16="http://schemas.microsoft.com/office/drawing/2014/main" id="{ABA2A6A3-1EDB-77CA-044F-205840F96C09}"/>
              </a:ext>
            </a:extLst>
          </p:cNvPr>
          <p:cNvSpPr txBox="1"/>
          <p:nvPr/>
        </p:nvSpPr>
        <p:spPr>
          <a:xfrm>
            <a:off x="-76199" y="365553"/>
            <a:ext cx="1752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MA" sz="1600" i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اص بالأستاذ</a:t>
            </a:r>
            <a:endParaRPr lang="fr-MA" sz="1600" i="1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F83E8F-A2D4-86F5-970B-0187137D8890}"/>
              </a:ext>
            </a:extLst>
          </p:cNvPr>
          <p:cNvSpPr txBox="1"/>
          <p:nvPr/>
        </p:nvSpPr>
        <p:spPr>
          <a:xfrm>
            <a:off x="1637972" y="1348424"/>
            <a:ext cx="6164669" cy="676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3334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ند نهاية الحصة</a:t>
            </a:r>
          </a:p>
          <a:p>
            <a:pPr algn="ctr">
              <a:lnSpc>
                <a:spcPts val="2075"/>
              </a:lnSpc>
            </a:pPr>
            <a:r>
              <a:rPr lang="ar-MA" sz="3334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fr-FR" sz="3334" b="1" kern="0">
              <a:solidFill>
                <a:srgbClr val="10658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1DB1C-D298-6B57-4318-C68FD8DCE947}"/>
              </a:ext>
            </a:extLst>
          </p:cNvPr>
          <p:cNvSpPr txBox="1"/>
          <p:nvPr/>
        </p:nvSpPr>
        <p:spPr>
          <a:xfrm>
            <a:off x="1359139" y="2144323"/>
            <a:ext cx="6164669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1">
              <a:spcAft>
                <a:spcPts val="600"/>
              </a:spcAft>
            </a:pPr>
            <a:r>
              <a:rPr lang="ar-MA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لى الأقل </a:t>
            </a:r>
            <a:r>
              <a:rPr lang="fr-FR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%</a:t>
            </a:r>
            <a:r>
              <a:rPr lang="ar-MA" sz="2400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من المتعلمين سيكونون قادرين على</a:t>
            </a:r>
            <a:r>
              <a:rPr lang="en-GB" sz="2667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fr-FR" sz="2667" b="1" kern="0" dirty="0">
              <a:solidFill>
                <a:srgbClr val="10658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D6A3147-0DFC-AF15-491E-F043AF0F253C}"/>
              </a:ext>
            </a:extLst>
          </p:cNvPr>
          <p:cNvSpPr/>
          <p:nvPr/>
        </p:nvSpPr>
        <p:spPr>
          <a:xfrm>
            <a:off x="7162800" y="3306938"/>
            <a:ext cx="361008" cy="349749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D14C045-02D3-7077-7653-8FE29C9975B9}"/>
              </a:ext>
            </a:extLst>
          </p:cNvPr>
          <p:cNvSpPr/>
          <p:nvPr/>
        </p:nvSpPr>
        <p:spPr>
          <a:xfrm>
            <a:off x="774065" y="3052724"/>
            <a:ext cx="7560840" cy="160473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44A9ABB-B6D8-B950-929F-5A5DA55A0CFC}"/>
              </a:ext>
            </a:extLst>
          </p:cNvPr>
          <p:cNvCxnSpPr>
            <a:cxnSpLocks/>
          </p:cNvCxnSpPr>
          <p:nvPr/>
        </p:nvCxnSpPr>
        <p:spPr>
          <a:xfrm>
            <a:off x="1335999" y="3398520"/>
            <a:ext cx="601594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EC7C736E-6720-8E83-2E6B-3FEEE13353BB}"/>
              </a:ext>
            </a:extLst>
          </p:cNvPr>
          <p:cNvSpPr/>
          <p:nvPr/>
        </p:nvSpPr>
        <p:spPr>
          <a:xfrm>
            <a:off x="7482691" y="3680216"/>
            <a:ext cx="361008" cy="349749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8" name="ZoneTexte 11">
            <a:extLst>
              <a:ext uri="{FF2B5EF4-FFF2-40B4-BE49-F238E27FC236}">
                <a16:creationId xmlns:a16="http://schemas.microsoft.com/office/drawing/2014/main" id="{A6AA855A-5A3B-821D-983F-EB776BE07733}"/>
              </a:ext>
            </a:extLst>
          </p:cNvPr>
          <p:cNvSpPr txBox="1"/>
          <p:nvPr/>
        </p:nvSpPr>
        <p:spPr>
          <a:xfrm>
            <a:off x="809095" y="3501008"/>
            <a:ext cx="6597397" cy="56836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 rtl="1">
              <a:lnSpc>
                <a:spcPct val="150000"/>
              </a:lnSpc>
              <a:spcAft>
                <a:spcPts val="600"/>
              </a:spcAft>
            </a:pPr>
            <a:r>
              <a:rPr lang="ar-MA" sz="2300" b="1" kern="0" dirty="0">
                <a:solidFill>
                  <a:srgbClr val="2D376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د وتعداد عناصر مجموعة وتمثيلها بالأصابع.</a:t>
            </a:r>
          </a:p>
        </p:txBody>
      </p: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96D4D483-5B07-B4C2-3F60-E0B712665810}"/>
              </a:ext>
            </a:extLst>
          </p:cNvPr>
          <p:cNvCxnSpPr>
            <a:cxnSpLocks/>
          </p:cNvCxnSpPr>
          <p:nvPr/>
        </p:nvCxnSpPr>
        <p:spPr>
          <a:xfrm>
            <a:off x="1335999" y="4293096"/>
            <a:ext cx="600730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713108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5FE2031-1206-F977-0282-45F9BEBD0F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CEEBC6CF-D30F-FD7D-620C-97A754884929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D8B9D85F-E511-C875-9CCE-ED2A65DEEE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706" y="529064"/>
            <a:ext cx="1440305" cy="1234547"/>
          </a:xfrm>
          <a:prstGeom prst="rect">
            <a:avLst/>
          </a:prstGeom>
        </p:spPr>
      </p:pic>
      <p:sp>
        <p:nvSpPr>
          <p:cNvPr id="2" name="ZoneTexte 4">
            <a:extLst>
              <a:ext uri="{FF2B5EF4-FFF2-40B4-BE49-F238E27FC236}">
                <a16:creationId xmlns:a16="http://schemas.microsoft.com/office/drawing/2014/main" id="{FE667980-5852-A4E1-CFAD-C55C6FE630C6}"/>
              </a:ext>
            </a:extLst>
          </p:cNvPr>
          <p:cNvSpPr txBox="1"/>
          <p:nvPr/>
        </p:nvSpPr>
        <p:spPr>
          <a:xfrm>
            <a:off x="304801" y="539388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عم. أشير بالأصبع لعد عناصر المجموعة. ما هي الخطوة الثانية؟</a:t>
            </a:r>
          </a:p>
        </p:txBody>
      </p:sp>
      <p:sp>
        <p:nvSpPr>
          <p:cNvPr id="3" name="Google Shape;1099;p57">
            <a:extLst>
              <a:ext uri="{FF2B5EF4-FFF2-40B4-BE49-F238E27FC236}">
                <a16:creationId xmlns:a16="http://schemas.microsoft.com/office/drawing/2014/main" id="{8D0EB9B8-E1F4-C67C-0DFE-1A67967838D4}"/>
              </a:ext>
            </a:extLst>
          </p:cNvPr>
          <p:cNvSpPr txBox="1"/>
          <p:nvPr/>
        </p:nvSpPr>
        <p:spPr>
          <a:xfrm>
            <a:off x="6933347" y="4149080"/>
            <a:ext cx="1634599" cy="3526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2pPr marL="0" indent="0" algn="r" rtl="1">
              <a:lnSpc>
                <a:spcPct val="94250"/>
              </a:lnSpc>
              <a:buNone/>
              <a:defRPr sz="3200" b="1">
                <a:solidFill>
                  <a:schemeClr val="dk1"/>
                </a:solidFill>
                <a:latin typeface="Dosis"/>
                <a:ea typeface="Dosis"/>
                <a:cs typeface="+mn-cs"/>
              </a:defRPr>
            </a:lvl2pPr>
          </a:lstStyle>
          <a:p>
            <a:pPr lvl="1"/>
            <a:r>
              <a:rPr lang="ar-MA" sz="18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Dosis"/>
              </a:rPr>
              <a:t>أَعُدُّ مُشيرًا بِأُصْبُعي</a:t>
            </a:r>
            <a:endParaRPr sz="1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Dosis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33CF369-DFDB-D578-0D47-A6CB83DCDD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3251" y="2564904"/>
            <a:ext cx="1914792" cy="1219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70402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2690671-FC4C-8922-67E6-81BD3BEAA8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A57EBD71-C618-02B1-16C0-B50D0A22E415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3D515098-332A-75F0-59F8-C17A2A9C58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706" y="529064"/>
            <a:ext cx="1440305" cy="1234547"/>
          </a:xfrm>
          <a:prstGeom prst="rect">
            <a:avLst/>
          </a:prstGeom>
        </p:spPr>
      </p:pic>
      <p:sp>
        <p:nvSpPr>
          <p:cNvPr id="3" name="Google Shape;1099;p57">
            <a:extLst>
              <a:ext uri="{FF2B5EF4-FFF2-40B4-BE49-F238E27FC236}">
                <a16:creationId xmlns:a16="http://schemas.microsoft.com/office/drawing/2014/main" id="{7CBCE5D3-3E56-72C1-BF80-0A53EC5FFEE7}"/>
              </a:ext>
            </a:extLst>
          </p:cNvPr>
          <p:cNvSpPr txBox="1"/>
          <p:nvPr/>
        </p:nvSpPr>
        <p:spPr>
          <a:xfrm>
            <a:off x="6933347" y="4149080"/>
            <a:ext cx="1634599" cy="3526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2pPr marL="0" indent="0" algn="r" rtl="1">
              <a:lnSpc>
                <a:spcPct val="94250"/>
              </a:lnSpc>
              <a:buNone/>
              <a:defRPr sz="3200" b="1">
                <a:solidFill>
                  <a:schemeClr val="dk1"/>
                </a:solidFill>
                <a:latin typeface="Dosis"/>
                <a:ea typeface="Dosis"/>
                <a:cs typeface="+mn-cs"/>
              </a:defRPr>
            </a:lvl2pPr>
          </a:lstStyle>
          <a:p>
            <a:pPr lvl="1"/>
            <a:r>
              <a:rPr lang="ar-MA" sz="18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Dosis"/>
              </a:rPr>
              <a:t>أَعُدُّ مُشيرًا بِأُصْبُعي</a:t>
            </a:r>
            <a:endParaRPr sz="1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Dosis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D346889-8496-9363-64EE-8D71791DE7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3251" y="2564904"/>
            <a:ext cx="1914792" cy="1219370"/>
          </a:xfrm>
          <a:prstGeom prst="rect">
            <a:avLst/>
          </a:prstGeom>
        </p:spPr>
      </p:pic>
      <p:sp>
        <p:nvSpPr>
          <p:cNvPr id="6" name="ZoneTexte 4">
            <a:extLst>
              <a:ext uri="{FF2B5EF4-FFF2-40B4-BE49-F238E27FC236}">
                <a16:creationId xmlns:a16="http://schemas.microsoft.com/office/drawing/2014/main" id="{2A5E94D7-734E-56B8-7E2A-AA89CB58AF57}"/>
              </a:ext>
            </a:extLst>
          </p:cNvPr>
          <p:cNvSpPr txBox="1"/>
          <p:nvPr/>
        </p:nvSpPr>
        <p:spPr>
          <a:xfrm>
            <a:off x="304801" y="539388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عم. أقول العدد. ما هي الخطوة الثالثة.</a:t>
            </a:r>
          </a:p>
        </p:txBody>
      </p:sp>
      <p:sp>
        <p:nvSpPr>
          <p:cNvPr id="7" name="Google Shape;1098;p57">
            <a:extLst>
              <a:ext uri="{FF2B5EF4-FFF2-40B4-BE49-F238E27FC236}">
                <a16:creationId xmlns:a16="http://schemas.microsoft.com/office/drawing/2014/main" id="{EE0542D7-4C70-E6D6-918F-BC3E18D2FF4C}"/>
              </a:ext>
            </a:extLst>
          </p:cNvPr>
          <p:cNvSpPr txBox="1"/>
          <p:nvPr/>
        </p:nvSpPr>
        <p:spPr>
          <a:xfrm>
            <a:off x="4148577" y="4149080"/>
            <a:ext cx="1043933" cy="3526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2pPr marL="0" indent="0" algn="r" rtl="1">
              <a:lnSpc>
                <a:spcPct val="94250"/>
              </a:lnSpc>
              <a:buNone/>
              <a:defRPr sz="3200" b="1">
                <a:solidFill>
                  <a:schemeClr val="dk1"/>
                </a:solidFill>
                <a:latin typeface="Dosis"/>
                <a:ea typeface="Dosis"/>
                <a:cs typeface="+mn-cs"/>
              </a:defRPr>
            </a:lvl2pPr>
          </a:lstStyle>
          <a:p>
            <a:pPr lvl="1"/>
            <a:r>
              <a:rPr lang="ar-MA" sz="18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Dosis"/>
              </a:rPr>
              <a:t>أَقولُ الْعَدَدَ</a:t>
            </a:r>
            <a:endParaRPr sz="1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Dosis"/>
            </a:endParaRPr>
          </a:p>
        </p:txBody>
      </p:sp>
      <p:pic>
        <p:nvPicPr>
          <p:cNvPr id="9" name="Google Shape;1104;p57">
            <a:extLst>
              <a:ext uri="{FF2B5EF4-FFF2-40B4-BE49-F238E27FC236}">
                <a16:creationId xmlns:a16="http://schemas.microsoft.com/office/drawing/2014/main" id="{1070F042-DF14-3A1C-7E34-1860A1479068}"/>
              </a:ext>
            </a:extLst>
          </p:cNvPr>
          <p:cNvPicPr preferRelativeResize="0"/>
          <p:nvPr/>
        </p:nvPicPr>
        <p:blipFill rotWithShape="1">
          <a:blip r:embed="rId5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 flipH="1">
            <a:off x="5724128" y="3060009"/>
            <a:ext cx="559860" cy="5589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1101;p57">
            <a:extLst>
              <a:ext uri="{FF2B5EF4-FFF2-40B4-BE49-F238E27FC236}">
                <a16:creationId xmlns:a16="http://schemas.microsoft.com/office/drawing/2014/main" id="{F6FB3E5B-6526-221D-0DC3-001D57446E4C}"/>
              </a:ext>
            </a:extLst>
          </p:cNvPr>
          <p:cNvPicPr preferRelativeResize="0"/>
          <p:nvPr/>
        </p:nvPicPr>
        <p:blipFill rotWithShape="1">
          <a:blip r:embed="rId7"/>
          <a:srcRect/>
          <a:stretch/>
        </p:blipFill>
        <p:spPr>
          <a:xfrm>
            <a:off x="4274834" y="2562135"/>
            <a:ext cx="917676" cy="14156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720595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99558EA-F55B-2C05-CC24-B014FD7D2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82F8E95D-B7D6-1CD0-18E0-52D9080322A7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6004E3EC-AB45-20B3-8E8A-A3F24CC163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706" y="529064"/>
            <a:ext cx="1440305" cy="1234547"/>
          </a:xfrm>
          <a:prstGeom prst="rect">
            <a:avLst/>
          </a:prstGeom>
        </p:spPr>
      </p:pic>
      <p:sp>
        <p:nvSpPr>
          <p:cNvPr id="3" name="Google Shape;1099;p57">
            <a:extLst>
              <a:ext uri="{FF2B5EF4-FFF2-40B4-BE49-F238E27FC236}">
                <a16:creationId xmlns:a16="http://schemas.microsoft.com/office/drawing/2014/main" id="{DE2D5C8E-C8DB-0C6D-9B76-F6AC9334D767}"/>
              </a:ext>
            </a:extLst>
          </p:cNvPr>
          <p:cNvSpPr txBox="1"/>
          <p:nvPr/>
        </p:nvSpPr>
        <p:spPr>
          <a:xfrm>
            <a:off x="6933347" y="4149080"/>
            <a:ext cx="1634599" cy="3526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2pPr marL="0" indent="0" algn="r" rtl="1">
              <a:lnSpc>
                <a:spcPct val="94250"/>
              </a:lnSpc>
              <a:buNone/>
              <a:defRPr sz="3200" b="1">
                <a:solidFill>
                  <a:schemeClr val="dk1"/>
                </a:solidFill>
                <a:latin typeface="Dosis"/>
                <a:ea typeface="Dosis"/>
                <a:cs typeface="+mn-cs"/>
              </a:defRPr>
            </a:lvl2pPr>
          </a:lstStyle>
          <a:p>
            <a:pPr lvl="1"/>
            <a:r>
              <a:rPr lang="ar-MA" sz="18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Dosis"/>
              </a:rPr>
              <a:t>أَعُدُّ مُشيرًا بِأُصْبُعي</a:t>
            </a:r>
            <a:endParaRPr sz="1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Dosis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B9DB2A2-F168-B7E8-0A32-71B5103518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3251" y="2564904"/>
            <a:ext cx="1914792" cy="1219370"/>
          </a:xfrm>
          <a:prstGeom prst="rect">
            <a:avLst/>
          </a:prstGeom>
        </p:spPr>
      </p:pic>
      <p:sp>
        <p:nvSpPr>
          <p:cNvPr id="7" name="Google Shape;1098;p57">
            <a:extLst>
              <a:ext uri="{FF2B5EF4-FFF2-40B4-BE49-F238E27FC236}">
                <a16:creationId xmlns:a16="http://schemas.microsoft.com/office/drawing/2014/main" id="{8A5D4AA3-C576-ECF4-AFF2-F9AA675FA1ED}"/>
              </a:ext>
            </a:extLst>
          </p:cNvPr>
          <p:cNvSpPr txBox="1"/>
          <p:nvPr/>
        </p:nvSpPr>
        <p:spPr>
          <a:xfrm>
            <a:off x="4148577" y="4149080"/>
            <a:ext cx="1043933" cy="3526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2pPr marL="0" indent="0" algn="r" rtl="1">
              <a:lnSpc>
                <a:spcPct val="94250"/>
              </a:lnSpc>
              <a:buNone/>
              <a:defRPr sz="3200" b="1">
                <a:solidFill>
                  <a:schemeClr val="dk1"/>
                </a:solidFill>
                <a:latin typeface="Dosis"/>
                <a:ea typeface="Dosis"/>
                <a:cs typeface="+mn-cs"/>
              </a:defRPr>
            </a:lvl2pPr>
          </a:lstStyle>
          <a:p>
            <a:pPr lvl="1"/>
            <a:r>
              <a:rPr lang="ar-MA" sz="18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Dosis"/>
              </a:rPr>
              <a:t>أَقولُ الْعَدَدَ</a:t>
            </a:r>
            <a:endParaRPr sz="1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Dosis"/>
            </a:endParaRPr>
          </a:p>
        </p:txBody>
      </p:sp>
      <p:pic>
        <p:nvPicPr>
          <p:cNvPr id="9" name="Google Shape;1104;p57">
            <a:extLst>
              <a:ext uri="{FF2B5EF4-FFF2-40B4-BE49-F238E27FC236}">
                <a16:creationId xmlns:a16="http://schemas.microsoft.com/office/drawing/2014/main" id="{04697287-84A7-CC49-A8E2-B7913A2DC3AD}"/>
              </a:ext>
            </a:extLst>
          </p:cNvPr>
          <p:cNvPicPr preferRelativeResize="0"/>
          <p:nvPr/>
        </p:nvPicPr>
        <p:blipFill rotWithShape="1">
          <a:blip r:embed="rId5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 flipH="1">
            <a:off x="5724128" y="3060009"/>
            <a:ext cx="559860" cy="5589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1101;p57">
            <a:extLst>
              <a:ext uri="{FF2B5EF4-FFF2-40B4-BE49-F238E27FC236}">
                <a16:creationId xmlns:a16="http://schemas.microsoft.com/office/drawing/2014/main" id="{9C318421-B1B4-2F21-6EC8-C7F283405309}"/>
              </a:ext>
            </a:extLst>
          </p:cNvPr>
          <p:cNvPicPr preferRelativeResize="0"/>
          <p:nvPr/>
        </p:nvPicPr>
        <p:blipFill rotWithShape="1">
          <a:blip r:embed="rId7"/>
          <a:srcRect/>
          <a:stretch/>
        </p:blipFill>
        <p:spPr>
          <a:xfrm>
            <a:off x="4274834" y="2562135"/>
            <a:ext cx="917676" cy="141566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ZoneTexte 4">
            <a:extLst>
              <a:ext uri="{FF2B5EF4-FFF2-40B4-BE49-F238E27FC236}">
                <a16:creationId xmlns:a16="http://schemas.microsoft.com/office/drawing/2014/main" id="{7208D96B-46BD-4195-A799-4A4211C8C207}"/>
              </a:ext>
            </a:extLst>
          </p:cNvPr>
          <p:cNvSpPr txBox="1"/>
          <p:nvPr/>
        </p:nvSpPr>
        <p:spPr>
          <a:xfrm>
            <a:off x="304801" y="539388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صل بخط المجموعة بعدد الأصابع المناسب.</a:t>
            </a:r>
          </a:p>
        </p:txBody>
      </p:sp>
      <p:pic>
        <p:nvPicPr>
          <p:cNvPr id="11" name="Google Shape;1105;p57">
            <a:extLst>
              <a:ext uri="{FF2B5EF4-FFF2-40B4-BE49-F238E27FC236}">
                <a16:creationId xmlns:a16="http://schemas.microsoft.com/office/drawing/2014/main" id="{19CF9765-302A-FF3A-CB13-F2FF1E102D74}"/>
              </a:ext>
            </a:extLst>
          </p:cNvPr>
          <p:cNvPicPr preferRelativeResize="0"/>
          <p:nvPr/>
        </p:nvPicPr>
        <p:blipFill rotWithShape="1">
          <a:blip r:embed="rId5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 flipH="1">
            <a:off x="2915816" y="3101997"/>
            <a:ext cx="559860" cy="558947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1100;p57">
            <a:extLst>
              <a:ext uri="{FF2B5EF4-FFF2-40B4-BE49-F238E27FC236}">
                <a16:creationId xmlns:a16="http://schemas.microsoft.com/office/drawing/2014/main" id="{AD54D599-5A7F-B57D-066B-2EFC3F60FAC2}"/>
              </a:ext>
            </a:extLst>
          </p:cNvPr>
          <p:cNvSpPr txBox="1"/>
          <p:nvPr/>
        </p:nvSpPr>
        <p:spPr>
          <a:xfrm>
            <a:off x="431015" y="4149080"/>
            <a:ext cx="1845003" cy="6130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ctr" rtl="1">
              <a:lnSpc>
                <a:spcPct val="9425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ar-MA" b="1" i="0" u="none" strike="noStrike" cap="none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Dosis"/>
              </a:rPr>
              <a:t>أمثل </a:t>
            </a:r>
            <a:r>
              <a:rPr lang="ar-MA" b="1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Dosis"/>
              </a:rPr>
              <a:t>العدد </a:t>
            </a:r>
            <a:r>
              <a:rPr lang="ar-MA" b="1" i="0" u="none" strike="noStrike" cap="none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Dosis"/>
              </a:rPr>
              <a:t>بِعَدَدِ الْأَصابِعِ الْمُناسِبِ</a:t>
            </a:r>
            <a:endParaRPr b="1" i="0" u="none" strike="noStrike" cap="none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Dosis"/>
            </a:endParaRPr>
          </a:p>
        </p:txBody>
      </p:sp>
      <p:pic>
        <p:nvPicPr>
          <p:cNvPr id="14" name="Google Shape;428;p21">
            <a:extLst>
              <a:ext uri="{FF2B5EF4-FFF2-40B4-BE49-F238E27FC236}">
                <a16:creationId xmlns:a16="http://schemas.microsoft.com/office/drawing/2014/main" id="{91756ECD-758A-2CF3-4BF0-DCE2510C586B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83453" y="2980951"/>
            <a:ext cx="1030933" cy="8758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177853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028A5E3-58B7-FB37-F072-B59E84A595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00107951-6D04-F504-4DA1-8A5D674DB5F5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EE9FEE25-8CFA-0EDC-8976-268E8054EACB}"/>
              </a:ext>
            </a:extLst>
          </p:cNvPr>
          <p:cNvSpPr txBox="1"/>
          <p:nvPr/>
        </p:nvSpPr>
        <p:spPr>
          <a:xfrm>
            <a:off x="368249" y="567451"/>
            <a:ext cx="809227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آن دوركم للعد . كل واحد منكم </a:t>
            </a:r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يصل مجموعة المراكب بعدد الأصابع المناسب</a:t>
            </a: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endParaRPr lang="ar-MA" sz="1867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6680ECDE-F291-E6C9-336B-587C6CC40A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90848F36-1AB3-6514-B799-16EFAF4A75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5767" y="1875873"/>
            <a:ext cx="8435480" cy="3939980"/>
          </a:xfrm>
          <a:prstGeom prst="rect">
            <a:avLst/>
          </a:prstGeom>
        </p:spPr>
      </p:pic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448B4534-94FA-6F7A-C8ED-F02AE89AAF10}"/>
              </a:ext>
            </a:extLst>
          </p:cNvPr>
          <p:cNvSpPr/>
          <p:nvPr/>
        </p:nvSpPr>
        <p:spPr>
          <a:xfrm>
            <a:off x="2699792" y="2636912"/>
            <a:ext cx="2192860" cy="136963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Flèche : bas 15">
            <a:extLst>
              <a:ext uri="{FF2B5EF4-FFF2-40B4-BE49-F238E27FC236}">
                <a16:creationId xmlns:a16="http://schemas.microsoft.com/office/drawing/2014/main" id="{47A835EA-91C6-B6A2-C0AE-CFB524885C61}"/>
              </a:ext>
            </a:extLst>
          </p:cNvPr>
          <p:cNvSpPr/>
          <p:nvPr/>
        </p:nvSpPr>
        <p:spPr>
          <a:xfrm>
            <a:off x="3785674" y="2062328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761399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AE52FAF-35C6-0471-E954-AB731CC3FE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24841F89-3E93-CA66-7FC6-798F22C8B89D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2" name="ZoneTexte 7">
            <a:extLst>
              <a:ext uri="{FF2B5EF4-FFF2-40B4-BE49-F238E27FC236}">
                <a16:creationId xmlns:a16="http://schemas.microsoft.com/office/drawing/2014/main" id="{84EDF8CD-2E3C-F1CD-BE1F-749092DC00EA}"/>
              </a:ext>
            </a:extLst>
          </p:cNvPr>
          <p:cNvSpPr txBox="1"/>
          <p:nvPr/>
        </p:nvSpPr>
        <p:spPr>
          <a:xfrm>
            <a:off x="878551" y="56345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هى الوقت. يقدم كل واحد نتيجته لزميله مع الشرح. 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E3AFD89-73BC-C301-8E9C-6C076C9A89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366" y="1916832"/>
            <a:ext cx="484326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06160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9CC4BF2-4A9E-C99B-A909-034B93B150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F3370F9D-7286-9CA3-8BC2-8F08347E08E2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2" name="ZoneTexte 7">
            <a:extLst>
              <a:ext uri="{FF2B5EF4-FFF2-40B4-BE49-F238E27FC236}">
                <a16:creationId xmlns:a16="http://schemas.microsoft.com/office/drawing/2014/main" id="{23130B8F-071C-FDFC-BEB9-6EC28416919D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عدد الأصابع التي تمثل عدد المراكب.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 descr="Une image contenant dessin humoristique, clipart, dessin, Dessin d’enfant&#10;&#10;Description générée automatiquement">
            <a:extLst>
              <a:ext uri="{FF2B5EF4-FFF2-40B4-BE49-F238E27FC236}">
                <a16:creationId xmlns:a16="http://schemas.microsoft.com/office/drawing/2014/main" id="{E5A60E87-7A63-D566-1319-47AC9F78CE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301" y="1484784"/>
            <a:ext cx="3225397" cy="4749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7678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A639EC6-265A-C7EB-83F4-6642A4AED2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43BD84A7-265B-D4FB-BFB5-C1283EB8622B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DE5E2540-825E-2FDB-E21F-7CA2805F0F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5767" y="1875873"/>
            <a:ext cx="8435480" cy="393998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00CCB8AB-B520-C649-1D39-628B9450F533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ن يشرح لنا كيف توصل للحل؟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BF1BA1E1-2EBC-9CD2-D780-270548975AE8}"/>
              </a:ext>
            </a:extLst>
          </p:cNvPr>
          <p:cNvSpPr/>
          <p:nvPr/>
        </p:nvSpPr>
        <p:spPr>
          <a:xfrm>
            <a:off x="2699792" y="2636912"/>
            <a:ext cx="2192860" cy="136963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1F23D0B1-F259-37FF-29D1-6E07002FCF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6913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2290A19-1283-7CF3-FC79-38F073F355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7F3F66A2-E68E-EEA0-3E8C-A280C4F485A6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C3992012-66C6-DDCB-1768-40BFAF1D5A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5767" y="1875873"/>
            <a:ext cx="8435480" cy="393998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F5DA31F6-4308-3C44-02FF-8352D405C5CC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ل مجموعة المراكب بـ 5 أصابع هكذا. صححوا على كراساتكم.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B2F36027-3199-834E-DA6C-B306DED82788}"/>
              </a:ext>
            </a:extLst>
          </p:cNvPr>
          <p:cNvCxnSpPr/>
          <p:nvPr/>
        </p:nvCxnSpPr>
        <p:spPr>
          <a:xfrm flipH="1">
            <a:off x="1756611" y="4054642"/>
            <a:ext cx="2057400" cy="56548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778615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92CB2C7-4786-7BAF-96D1-494E95C33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E79324BD-736E-98D2-F9AF-EC5645355D21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C31B3096-4660-7F87-F797-ABC863B496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5767" y="1875873"/>
            <a:ext cx="8435480" cy="3939980"/>
          </a:xfrm>
          <a:prstGeom prst="rect">
            <a:avLst/>
          </a:prstGeom>
        </p:spPr>
      </p:pic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032401AF-38D3-6A28-0F36-1853FB346519}"/>
              </a:ext>
            </a:extLst>
          </p:cNvPr>
          <p:cNvCxnSpPr/>
          <p:nvPr/>
        </p:nvCxnSpPr>
        <p:spPr>
          <a:xfrm flipH="1">
            <a:off x="1756611" y="4054642"/>
            <a:ext cx="2057400" cy="56548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4">
            <a:extLst>
              <a:ext uri="{FF2B5EF4-FFF2-40B4-BE49-F238E27FC236}">
                <a16:creationId xmlns:a16="http://schemas.microsoft.com/office/drawing/2014/main" id="{5BB732F2-7701-6F53-8EB6-150EE4F125CD}"/>
              </a:ext>
            </a:extLst>
          </p:cNvPr>
          <p:cNvSpPr txBox="1"/>
          <p:nvPr/>
        </p:nvSpPr>
        <p:spPr>
          <a:xfrm>
            <a:off x="405767" y="563346"/>
            <a:ext cx="809227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كل واحد منكم سيصل بخط مجموعة الطائرات بعدد الأصابع المناسب.</a:t>
            </a:r>
          </a:p>
        </p:txBody>
      </p: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8DC7D7E3-1B2C-D73F-80C1-4ED16B1E1917}"/>
              </a:ext>
            </a:extLst>
          </p:cNvPr>
          <p:cNvSpPr/>
          <p:nvPr/>
        </p:nvSpPr>
        <p:spPr>
          <a:xfrm>
            <a:off x="4781256" y="2685010"/>
            <a:ext cx="1956429" cy="136963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E74EE3E-24A2-31D5-3779-E0D119CAEF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  <p:sp>
        <p:nvSpPr>
          <p:cNvPr id="9" name="Flèche : bas 8">
            <a:extLst>
              <a:ext uri="{FF2B5EF4-FFF2-40B4-BE49-F238E27FC236}">
                <a16:creationId xmlns:a16="http://schemas.microsoft.com/office/drawing/2014/main" id="{926BDF32-6FD2-850F-1D9E-D19AC9DE4FFD}"/>
              </a:ext>
            </a:extLst>
          </p:cNvPr>
          <p:cNvSpPr/>
          <p:nvPr/>
        </p:nvSpPr>
        <p:spPr>
          <a:xfrm>
            <a:off x="5628572" y="2116709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257611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83597BF-F0FF-1E77-11A9-83ECD4955B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E1D26675-165D-A7BF-F583-A1F0018FEA54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2" name="ZoneTexte 7">
            <a:extLst>
              <a:ext uri="{FF2B5EF4-FFF2-40B4-BE49-F238E27FC236}">
                <a16:creationId xmlns:a16="http://schemas.microsoft.com/office/drawing/2014/main" id="{24FB1EF0-E1A3-AEBD-AA69-B2B1220D620C}"/>
              </a:ext>
            </a:extLst>
          </p:cNvPr>
          <p:cNvSpPr txBox="1"/>
          <p:nvPr/>
        </p:nvSpPr>
        <p:spPr>
          <a:xfrm>
            <a:off x="878551" y="56345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هى الوقت. يقدم كل واحد نتيجته لزميله مع الشرح. 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AEAFD4C-082B-0646-3625-0304B209B3C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366" y="1916832"/>
            <a:ext cx="484326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9061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349969" y="3090029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6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 افتتاح الحصة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6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718370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89E2561-877B-A09E-0C96-02E617265C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22AB3B22-83DD-61E2-09A3-DEA07D07280C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2" name="ZoneTexte 7">
            <a:extLst>
              <a:ext uri="{FF2B5EF4-FFF2-40B4-BE49-F238E27FC236}">
                <a16:creationId xmlns:a16="http://schemas.microsoft.com/office/drawing/2014/main" id="{B54B1CDF-8C30-FC86-50D7-791E9CEFCC79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عدد الأصابع التي تمثل عدد الطائرات.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 descr="Une image contenant dessin humoristique, clipart, dessin, Dessin d’enfant&#10;&#10;Description générée automatiquement">
            <a:extLst>
              <a:ext uri="{FF2B5EF4-FFF2-40B4-BE49-F238E27FC236}">
                <a16:creationId xmlns:a16="http://schemas.microsoft.com/office/drawing/2014/main" id="{6A674567-B11F-AD1E-3C3D-C24A544CD7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301" y="1484784"/>
            <a:ext cx="3225397" cy="4749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69436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FFDF87C-1D92-FAA0-EBB8-B77D4BE6A4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67B95422-C846-1F02-6745-947611431659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2" name="ZoneTexte 7">
            <a:extLst>
              <a:ext uri="{FF2B5EF4-FFF2-40B4-BE49-F238E27FC236}">
                <a16:creationId xmlns:a16="http://schemas.microsoft.com/office/drawing/2014/main" id="{264F1D60-ADB0-DB1A-6F78-1218D0A1400C}"/>
              </a:ext>
            </a:extLst>
          </p:cNvPr>
          <p:cNvSpPr txBox="1"/>
          <p:nvPr/>
        </p:nvSpPr>
        <p:spPr>
          <a:xfrm>
            <a:off x="311859" y="548680"/>
            <a:ext cx="8248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ختار أحد  التلاميذ ليقوم إلى السبورة ويشرح لنا كيف قام بذلك.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8265898-1EF2-8B2D-689E-AED792F3E5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5767" y="1875873"/>
            <a:ext cx="8435480" cy="3939980"/>
          </a:xfrm>
          <a:prstGeom prst="rect">
            <a:avLst/>
          </a:prstGeom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6BCFF76C-2107-875C-2A54-588BFD98E9DC}"/>
              </a:ext>
            </a:extLst>
          </p:cNvPr>
          <p:cNvCxnSpPr/>
          <p:nvPr/>
        </p:nvCxnSpPr>
        <p:spPr>
          <a:xfrm flipH="1">
            <a:off x="1756611" y="4054642"/>
            <a:ext cx="2057400" cy="56548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CE6229EC-FC7D-8A37-1097-44848A32294C}"/>
              </a:ext>
            </a:extLst>
          </p:cNvPr>
          <p:cNvSpPr/>
          <p:nvPr/>
        </p:nvSpPr>
        <p:spPr>
          <a:xfrm>
            <a:off x="4781256" y="2685010"/>
            <a:ext cx="1956429" cy="136963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946C4ABC-BD1E-AB7A-80E5-8828D81D2D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34019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88DEFBB-9A32-8F8D-AA3F-5434F9402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25B0A4E1-C202-3391-4585-62ECA08037FF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1A3702FB-040C-F5E3-3DE6-24ACFD8CF3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5767" y="1875873"/>
            <a:ext cx="8435480" cy="393998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EE3EC59C-9B83-73F8-94E7-F4BC158AB5B0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ل مجموعة الطائرات بـأصبعين هكذا. صححوا على كراساتكم.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D04BB746-5B47-89EA-F1BD-7B6C63041087}"/>
              </a:ext>
            </a:extLst>
          </p:cNvPr>
          <p:cNvCxnSpPr/>
          <p:nvPr/>
        </p:nvCxnSpPr>
        <p:spPr>
          <a:xfrm flipH="1">
            <a:off x="1756611" y="4054642"/>
            <a:ext cx="2057400" cy="56548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2BC2581E-C8A3-BA3F-8809-047AD55889E4}"/>
              </a:ext>
            </a:extLst>
          </p:cNvPr>
          <p:cNvCxnSpPr>
            <a:cxnSpLocks/>
          </p:cNvCxnSpPr>
          <p:nvPr/>
        </p:nvCxnSpPr>
        <p:spPr>
          <a:xfrm>
            <a:off x="5871411" y="4054642"/>
            <a:ext cx="1840831" cy="649705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663446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F17546B-7C48-8A1A-7C34-8913F6BD3F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4A2A5611-4EB1-BB91-27CB-3C6C2D36C361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EC08EC34-24A5-338E-D419-73A1F1ACE5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5767" y="1875873"/>
            <a:ext cx="8435480" cy="3939980"/>
          </a:xfrm>
          <a:prstGeom prst="rect">
            <a:avLst/>
          </a:prstGeom>
        </p:spPr>
      </p:pic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302B6664-1A4E-A7BF-2B76-4D5DB6891390}"/>
              </a:ext>
            </a:extLst>
          </p:cNvPr>
          <p:cNvCxnSpPr/>
          <p:nvPr/>
        </p:nvCxnSpPr>
        <p:spPr>
          <a:xfrm flipH="1">
            <a:off x="1756611" y="4054642"/>
            <a:ext cx="2057400" cy="56548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8E2FDC36-878F-DC93-664D-CCBB65F95ED8}"/>
              </a:ext>
            </a:extLst>
          </p:cNvPr>
          <p:cNvCxnSpPr>
            <a:cxnSpLocks/>
          </p:cNvCxnSpPr>
          <p:nvPr/>
        </p:nvCxnSpPr>
        <p:spPr>
          <a:xfrm>
            <a:off x="5871411" y="4054642"/>
            <a:ext cx="1840831" cy="649705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5">
            <a:extLst>
              <a:ext uri="{FF2B5EF4-FFF2-40B4-BE49-F238E27FC236}">
                <a16:creationId xmlns:a16="http://schemas.microsoft.com/office/drawing/2014/main" id="{9FEEB46A-622E-0D79-6A90-A074E1EE5273}"/>
              </a:ext>
            </a:extLst>
          </p:cNvPr>
          <p:cNvSpPr txBox="1"/>
          <p:nvPr/>
        </p:nvSpPr>
        <p:spPr>
          <a:xfrm>
            <a:off x="304801" y="529064"/>
            <a:ext cx="809227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كل واحد منكم </a:t>
            </a:r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يصل بخط مجموعة الغواصات بعدد الأصابع المناسب</a:t>
            </a: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endParaRPr lang="ar-MA" sz="1867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C21E8A6D-8A5A-5D9A-E3D3-08F52A4628E5}"/>
              </a:ext>
            </a:extLst>
          </p:cNvPr>
          <p:cNvSpPr/>
          <p:nvPr/>
        </p:nvSpPr>
        <p:spPr>
          <a:xfrm>
            <a:off x="6767762" y="2611298"/>
            <a:ext cx="1956429" cy="136963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Flèche : bas 8">
            <a:extLst>
              <a:ext uri="{FF2B5EF4-FFF2-40B4-BE49-F238E27FC236}">
                <a16:creationId xmlns:a16="http://schemas.microsoft.com/office/drawing/2014/main" id="{2399D872-4256-8A8A-8A95-6D8013F1930A}"/>
              </a:ext>
            </a:extLst>
          </p:cNvPr>
          <p:cNvSpPr/>
          <p:nvPr/>
        </p:nvSpPr>
        <p:spPr>
          <a:xfrm>
            <a:off x="7615078" y="2098298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F1E521C-D4B8-8D88-450C-9328C3AAEE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09280414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56924E3-88D6-CD2C-39CC-DCBCC676D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0EC38CBC-E21A-F3FF-5EB2-B192CB4B5CA4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2" name="ZoneTexte 7">
            <a:extLst>
              <a:ext uri="{FF2B5EF4-FFF2-40B4-BE49-F238E27FC236}">
                <a16:creationId xmlns:a16="http://schemas.microsoft.com/office/drawing/2014/main" id="{0552BB9B-5150-CCD4-D8D7-BB8606708FD4}"/>
              </a:ext>
            </a:extLst>
          </p:cNvPr>
          <p:cNvSpPr txBox="1"/>
          <p:nvPr/>
        </p:nvSpPr>
        <p:spPr>
          <a:xfrm>
            <a:off x="878551" y="56345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هى الوقت. يقدم كل واحد نتيجته لزميله مع الشرح. 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AEA3A5A-6658-EFC7-5DB6-1D55228B1A1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366" y="1916832"/>
            <a:ext cx="484326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8069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448E1F7-3BB5-1139-8237-D0241C60A4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318BF4A2-0D94-23DB-2F43-F7FB24D6BC44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2" name="ZoneTexte 7">
            <a:extLst>
              <a:ext uri="{FF2B5EF4-FFF2-40B4-BE49-F238E27FC236}">
                <a16:creationId xmlns:a16="http://schemas.microsoft.com/office/drawing/2014/main" id="{0780D52E-876C-08B8-E00B-73949C72818A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عدد الأصابع التي تمثل عدد الغواصات.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 descr="Une image contenant dessin humoristique, clipart, dessin, Dessin d’enfant&#10;&#10;Description générée automatiquement">
            <a:extLst>
              <a:ext uri="{FF2B5EF4-FFF2-40B4-BE49-F238E27FC236}">
                <a16:creationId xmlns:a16="http://schemas.microsoft.com/office/drawing/2014/main" id="{A556FD46-F238-3795-9ABA-AD758E04BB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301" y="1484784"/>
            <a:ext cx="3225397" cy="4749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2197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9F8D6E2-93AC-CD49-B4B2-67C82874B2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59CC0027-03C3-7E16-8B1A-4E20690C86B4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D429CC2B-39BF-85A0-DE7C-9BD434ED2C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5767" y="1875873"/>
            <a:ext cx="8435480" cy="3939980"/>
          </a:xfrm>
          <a:prstGeom prst="rect">
            <a:avLst/>
          </a:prstGeom>
        </p:spPr>
      </p:pic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EA3BF96-6B06-375B-89F7-CCB26E37D4D2}"/>
              </a:ext>
            </a:extLst>
          </p:cNvPr>
          <p:cNvCxnSpPr/>
          <p:nvPr/>
        </p:nvCxnSpPr>
        <p:spPr>
          <a:xfrm flipH="1">
            <a:off x="1756611" y="4054642"/>
            <a:ext cx="2057400" cy="56548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9FDAC68E-5E5D-A296-23E8-95D3EB9F2FB1}"/>
              </a:ext>
            </a:extLst>
          </p:cNvPr>
          <p:cNvCxnSpPr>
            <a:cxnSpLocks/>
          </p:cNvCxnSpPr>
          <p:nvPr/>
        </p:nvCxnSpPr>
        <p:spPr>
          <a:xfrm>
            <a:off x="5871411" y="4054642"/>
            <a:ext cx="1840831" cy="649705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258F26F7-668B-5880-65DC-0100D6608810}"/>
              </a:ext>
            </a:extLst>
          </p:cNvPr>
          <p:cNvSpPr/>
          <p:nvPr/>
        </p:nvSpPr>
        <p:spPr>
          <a:xfrm>
            <a:off x="6767762" y="2611298"/>
            <a:ext cx="1956429" cy="136963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ZoneTexte 7">
            <a:extLst>
              <a:ext uri="{FF2B5EF4-FFF2-40B4-BE49-F238E27FC236}">
                <a16:creationId xmlns:a16="http://schemas.microsoft.com/office/drawing/2014/main" id="{364DBA27-E06A-481B-F7BB-3A33CC16E142}"/>
              </a:ext>
            </a:extLst>
          </p:cNvPr>
          <p:cNvSpPr txBox="1"/>
          <p:nvPr/>
        </p:nvSpPr>
        <p:spPr>
          <a:xfrm>
            <a:off x="179512" y="548680"/>
            <a:ext cx="8248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ختار أحد  التلاميذ ليقوم إلى السبورة ويشرح لنا كيف قام بذلك.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C0B2C8E-F057-7B13-2CAA-A54219EDFA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05554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38B22B2-7B3C-1AE1-0078-03025171E6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BAD11B91-F276-FC9F-827E-4DCEAC4307FD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.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نشاط</a:t>
                      </a:r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الرئيسي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2" name="Image 1">
            <a:extLst>
              <a:ext uri="{FF2B5EF4-FFF2-40B4-BE49-F238E27FC236}">
                <a16:creationId xmlns:a16="http://schemas.microsoft.com/office/drawing/2014/main" id="{2E24F794-4C66-9865-4794-35E041A60D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5767" y="1875873"/>
            <a:ext cx="8435480" cy="3939980"/>
          </a:xfrm>
          <a:prstGeom prst="rect">
            <a:avLst/>
          </a:prstGeom>
        </p:spPr>
      </p:pic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A40D627A-7021-EE65-A223-24F7E9132B52}"/>
              </a:ext>
            </a:extLst>
          </p:cNvPr>
          <p:cNvCxnSpPr/>
          <p:nvPr/>
        </p:nvCxnSpPr>
        <p:spPr>
          <a:xfrm flipH="1">
            <a:off x="1756611" y="4054642"/>
            <a:ext cx="2057400" cy="56548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B7483BD7-89F8-43E9-EDA7-1B21FB7387C1}"/>
              </a:ext>
            </a:extLst>
          </p:cNvPr>
          <p:cNvCxnSpPr>
            <a:cxnSpLocks/>
          </p:cNvCxnSpPr>
          <p:nvPr/>
        </p:nvCxnSpPr>
        <p:spPr>
          <a:xfrm>
            <a:off x="5871411" y="4054642"/>
            <a:ext cx="1840831" cy="649705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7">
            <a:extLst>
              <a:ext uri="{FF2B5EF4-FFF2-40B4-BE49-F238E27FC236}">
                <a16:creationId xmlns:a16="http://schemas.microsoft.com/office/drawing/2014/main" id="{79AF508D-EB6B-65AF-ADE1-FC7A92700332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ل مجموعة الغواصات بـ 4 أصابع هكذا. صححوا على كراساتكم.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099DF6F-37F6-0742-721E-04E386456C68}"/>
              </a:ext>
            </a:extLst>
          </p:cNvPr>
          <p:cNvCxnSpPr>
            <a:cxnSpLocks/>
          </p:cNvCxnSpPr>
          <p:nvPr/>
        </p:nvCxnSpPr>
        <p:spPr>
          <a:xfrm flipV="1">
            <a:off x="3814011" y="4054642"/>
            <a:ext cx="3898231" cy="649705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6319250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242D67-BFEF-4B5D-3DE1-15CAC9D607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242D67-BFEF-4B5D-3DE1-15CAC9D60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endParaRPr lang="fr-MA" sz="900">
              <a:latin typeface="Dosis" pitchFamily="2" charset="0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574801" y="2260600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rtl="1">
              <a:lnSpc>
                <a:spcPts val="5486"/>
              </a:lnSpc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أنشطة التدرب</a:t>
            </a: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pic>
        <p:nvPicPr>
          <p:cNvPr id="5" name="Image 12">
            <a:extLst>
              <a:ext uri="{FF2B5EF4-FFF2-40B4-BE49-F238E27FC236}">
                <a16:creationId xmlns:a16="http://schemas.microsoft.com/office/drawing/2014/main" id="{6B648B92-E3C8-11B4-4206-CC50215B1848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5838706" y="3483354"/>
            <a:ext cx="812326" cy="4497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E1D4593-8EE1-8254-4D60-5DCB88F8CCD4}"/>
              </a:ext>
            </a:extLst>
          </p:cNvPr>
          <p:cNvSpPr/>
          <p:nvPr/>
        </p:nvSpPr>
        <p:spPr>
          <a:xfrm>
            <a:off x="2843808" y="3134311"/>
            <a:ext cx="3708400" cy="10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4" rtl="1">
              <a:lnSpc>
                <a:spcPts val="5486"/>
              </a:lnSpc>
              <a:defRPr/>
            </a:pPr>
            <a:r>
              <a:rPr lang="ar-MA" sz="3200" b="1" dirty="0">
                <a:solidFill>
                  <a:srgbClr val="3795AF"/>
                </a:solidFill>
                <a:latin typeface="Dosis" pitchFamily="2" charset="0"/>
                <a:cs typeface="Calibri" panose="020F0502020204030204" pitchFamily="34" charset="0"/>
              </a:rPr>
              <a:t>أنجز بمفردي</a:t>
            </a:r>
          </a:p>
        </p:txBody>
      </p:sp>
    </p:spTree>
    <p:extLst>
      <p:ext uri="{BB962C8B-B14F-4D97-AF65-F5344CB8AC3E}">
        <p14:creationId xmlns:p14="http://schemas.microsoft.com/office/powerpoint/2010/main" val="214392326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9B754BD-B770-ADC7-B9ED-36AC932D4F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5649BC64-9A82-EC7D-9E67-72FDA1798F41}"/>
              </a:ext>
            </a:extLst>
          </p:cNvPr>
          <p:cNvSpPr txBox="1"/>
          <p:nvPr/>
        </p:nvSpPr>
        <p:spPr>
          <a:xfrm>
            <a:off x="1419352" y="552322"/>
            <a:ext cx="7144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كل واحد منكم سينجز النشاط 3 بمفرده. سأمر بين الصفوف.</a:t>
            </a:r>
          </a:p>
          <a:p>
            <a:pPr algn="r"/>
            <a:r>
              <a:rPr lang="ar-MA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شرح الأستاذ الجزء الأول المحلول من التمرين.</a:t>
            </a:r>
          </a:p>
        </p:txBody>
      </p:sp>
      <p:graphicFrame>
        <p:nvGraphicFramePr>
          <p:cNvPr id="3" name="Table 15">
            <a:extLst>
              <a:ext uri="{FF2B5EF4-FFF2-40B4-BE49-F238E27FC236}">
                <a16:creationId xmlns:a16="http://schemas.microsoft.com/office/drawing/2014/main" id="{203EB539-57BC-68F8-6321-8228FDCBFA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8401980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9C561C78-39C5-1E90-80E1-2AE351AE91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4777" y="2564904"/>
            <a:ext cx="7210478" cy="2739574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EDD46ED6-B935-410F-31C4-A336538481A0}"/>
              </a:ext>
            </a:extLst>
          </p:cNvPr>
          <p:cNvSpPr/>
          <p:nvPr/>
        </p:nvSpPr>
        <p:spPr>
          <a:xfrm>
            <a:off x="1025883" y="2523735"/>
            <a:ext cx="7538351" cy="2921489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723379E3-1BA5-1BF8-746E-90ACEFBB52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022626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C1171B-7DA8-2842-0EF5-E009E48F7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2FFE84DF-8EC2-7EF5-2C60-AA66924D2BFF}"/>
              </a:ext>
            </a:extLst>
          </p:cNvPr>
          <p:cNvSpPr txBox="1"/>
          <p:nvPr/>
        </p:nvSpPr>
        <p:spPr>
          <a:xfrm>
            <a:off x="720000" y="549904"/>
            <a:ext cx="7806610" cy="392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lnSpc>
                <a:spcPct val="115000"/>
              </a:lnSpc>
              <a:spcAft>
                <a:spcPts val="800"/>
              </a:spcAft>
            </a:pP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رحبا أبنائي</a:t>
            </a:r>
            <a:r>
              <a:rPr lang="ar-S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، 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نبدأ درس اليوم</a:t>
            </a:r>
            <a:endParaRPr lang="fr-MA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D8013B0-8EE1-1C3A-5FDF-ED9DA08EE22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22824" y="2169000"/>
            <a:ext cx="3498353" cy="2520000"/>
          </a:xfrm>
          <a:prstGeom prst="rect">
            <a:avLst/>
          </a:prstGeom>
        </p:spPr>
      </p:pic>
      <p:graphicFrame>
        <p:nvGraphicFramePr>
          <p:cNvPr id="7" name="Table 15">
            <a:extLst>
              <a:ext uri="{FF2B5EF4-FFF2-40B4-BE49-F238E27FC236}">
                <a16:creationId xmlns:a16="http://schemas.microsoft.com/office/drawing/2014/main" id="{9075F1F5-A224-8D97-6161-84BC8DE54251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152399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59D2E97-FB0D-630A-411D-31FEE3A48B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15">
            <a:extLst>
              <a:ext uri="{FF2B5EF4-FFF2-40B4-BE49-F238E27FC236}">
                <a16:creationId xmlns:a16="http://schemas.microsoft.com/office/drawing/2014/main" id="{B528A9FB-10BB-9B69-82EA-29551CDF759E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13" name="ZoneTexte 12">
            <a:extLst>
              <a:ext uri="{FF2B5EF4-FFF2-40B4-BE49-F238E27FC236}">
                <a16:creationId xmlns:a16="http://schemas.microsoft.com/office/drawing/2014/main" id="{606CD232-E49F-55E1-2BFE-EABB1E88B471}"/>
              </a:ext>
            </a:extLst>
          </p:cNvPr>
          <p:cNvSpPr txBox="1"/>
          <p:nvPr/>
        </p:nvSpPr>
        <p:spPr>
          <a:xfrm>
            <a:off x="1387558" y="540215"/>
            <a:ext cx="7144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</a:t>
            </a:r>
          </a:p>
          <a:p>
            <a:pPr algn="r"/>
            <a:r>
              <a:rPr lang="ar-MA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 أثناء التصحيح.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C3240F3B-FD12-C261-7C57-DEDAE83586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4777" y="2602802"/>
            <a:ext cx="7210478" cy="2739574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16513F4A-E5BD-44EB-268F-580E30F776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3" y="564882"/>
            <a:ext cx="1224769" cy="875710"/>
          </a:xfrm>
          <a:prstGeom prst="rect">
            <a:avLst/>
          </a:prstGeom>
        </p:spPr>
      </p:pic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332E4E08-62C7-0D34-6EC0-D00DF1951EB1}"/>
              </a:ext>
            </a:extLst>
          </p:cNvPr>
          <p:cNvCxnSpPr/>
          <p:nvPr/>
        </p:nvCxnSpPr>
        <p:spPr>
          <a:xfrm>
            <a:off x="3851920" y="3933056"/>
            <a:ext cx="1800200" cy="648072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68F12865-5696-D1F6-26D1-2B84DE6918D1}"/>
              </a:ext>
            </a:extLst>
          </p:cNvPr>
          <p:cNvCxnSpPr>
            <a:cxnSpLocks/>
          </p:cNvCxnSpPr>
          <p:nvPr/>
        </p:nvCxnSpPr>
        <p:spPr>
          <a:xfrm flipV="1">
            <a:off x="2051720" y="3933056"/>
            <a:ext cx="3600400" cy="57606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DA80B513-F1BD-8266-5DC3-94B80321B06C}"/>
              </a:ext>
            </a:extLst>
          </p:cNvPr>
          <p:cNvCxnSpPr>
            <a:cxnSpLocks/>
          </p:cNvCxnSpPr>
          <p:nvPr/>
        </p:nvCxnSpPr>
        <p:spPr>
          <a:xfrm flipV="1">
            <a:off x="7401614" y="3942387"/>
            <a:ext cx="0" cy="57606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4503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58DCEF-67BB-EFB5-C59F-3BBF1581EA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15">
            <a:extLst>
              <a:ext uri="{FF2B5EF4-FFF2-40B4-BE49-F238E27FC236}">
                <a16:creationId xmlns:a16="http://schemas.microsoft.com/office/drawing/2014/main" id="{5E0F4A1C-352F-4F89-E0E8-EEE1688A100E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C5B045D1-3782-B4C8-DEB5-F09C0DF4583F}"/>
              </a:ext>
            </a:extLst>
          </p:cNvPr>
          <p:cNvSpPr txBox="1"/>
          <p:nvPr/>
        </p:nvSpPr>
        <p:spPr>
          <a:xfrm>
            <a:off x="392397" y="540984"/>
            <a:ext cx="8092279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تشتغلون بشكل فردي لإنجاز التمرين 4 في الصفحة 9.</a:t>
            </a:r>
          </a:p>
          <a:p>
            <a:pPr algn="r"/>
            <a:r>
              <a:rPr lang="ar-MA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شرح الأستاذ الجزء الأول المحلول من التمرين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2420360-C70C-92CC-5E13-3F4A173E7A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8031" y="1340768"/>
            <a:ext cx="6947938" cy="503640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A6F8B93-3D2F-3453-F3E7-9AD8F1D6E0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912257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080E98B-3838-D402-B053-63C761BEBC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15">
            <a:extLst>
              <a:ext uri="{FF2B5EF4-FFF2-40B4-BE49-F238E27FC236}">
                <a16:creationId xmlns:a16="http://schemas.microsoft.com/office/drawing/2014/main" id="{0525D361-E23E-31AF-2387-D5AAD0C3E9E8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52297CEE-1B69-9712-4B14-16916EB7CFC2}"/>
              </a:ext>
            </a:extLst>
          </p:cNvPr>
          <p:cNvSpPr txBox="1"/>
          <p:nvPr/>
        </p:nvSpPr>
        <p:spPr>
          <a:xfrm>
            <a:off x="1387558" y="540215"/>
            <a:ext cx="7144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</a:t>
            </a:r>
          </a:p>
          <a:p>
            <a:pPr algn="r"/>
            <a:r>
              <a:rPr lang="ar-MA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 أثناء التصحيح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CDA9FBE-2256-D7E2-0C20-4DEBC915D5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3" y="564882"/>
            <a:ext cx="1224769" cy="87571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0FE676A-8882-0330-53C4-221CDA3E868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8031" y="1340768"/>
            <a:ext cx="6947938" cy="5036408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41112F5C-0C74-AF41-B393-5FA916D262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8032" y="1349747"/>
            <a:ext cx="6947938" cy="2354137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65892B8-C5D7-D366-E136-B122758135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9221" y="3758359"/>
            <a:ext cx="6947938" cy="829604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7A0DEE91-5E9C-6581-239F-9AD3236F40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0283" y="4587962"/>
            <a:ext cx="6906876" cy="829605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11461278-62EC-D955-8AD4-CFF3ADBF0B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1298" y="5508253"/>
            <a:ext cx="6923481" cy="877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609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D69F401-A5A2-19A3-B373-7A6E1ACD60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15">
            <a:extLst>
              <a:ext uri="{FF2B5EF4-FFF2-40B4-BE49-F238E27FC236}">
                <a16:creationId xmlns:a16="http://schemas.microsoft.com/office/drawing/2014/main" id="{2EF671B7-E79C-EBAE-E20C-0C357534EDF1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BF4CBC5D-08F2-63C8-2730-A7BA5B563BA6}"/>
              </a:ext>
            </a:extLst>
          </p:cNvPr>
          <p:cNvSpPr txBox="1"/>
          <p:nvPr/>
        </p:nvSpPr>
        <p:spPr>
          <a:xfrm>
            <a:off x="392397" y="540984"/>
            <a:ext cx="8092279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تشتغلون بشكل فردي لإنجاز التمرين 5 في الصفحة 9.</a:t>
            </a:r>
          </a:p>
          <a:p>
            <a:pPr algn="r"/>
            <a:r>
              <a:rPr lang="ar-MA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شرح الأستاذ الجزء الأول المحلول من التمرين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98533C5-A20A-BBD9-650B-4A11E5FDB8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156" y="2060848"/>
            <a:ext cx="8659687" cy="294919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6A9D8D0-AE6B-C9CD-00EF-56C4EEB2CB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09184595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8332B06-3931-4248-7E1C-AA438BD911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15">
            <a:extLst>
              <a:ext uri="{FF2B5EF4-FFF2-40B4-BE49-F238E27FC236}">
                <a16:creationId xmlns:a16="http://schemas.microsoft.com/office/drawing/2014/main" id="{D5121935-2D73-3198-7E32-B87F8E426EE5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B8463C10-58AE-5530-3B52-99543B3F66B3}"/>
              </a:ext>
            </a:extLst>
          </p:cNvPr>
          <p:cNvSpPr txBox="1"/>
          <p:nvPr/>
        </p:nvSpPr>
        <p:spPr>
          <a:xfrm>
            <a:off x="1387558" y="540215"/>
            <a:ext cx="7144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</a:t>
            </a:r>
          </a:p>
          <a:p>
            <a:pPr algn="r"/>
            <a:r>
              <a:rPr lang="ar-MA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 أثناء التصحيح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67F374B1-505C-900B-6547-96BE36DC02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3" y="564882"/>
            <a:ext cx="1224769" cy="87571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D352B0A3-5E7C-197B-94BB-DF0AFB032C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156" y="2060848"/>
            <a:ext cx="8659687" cy="2949199"/>
          </a:xfrm>
          <a:prstGeom prst="rect">
            <a:avLst/>
          </a:prstGeom>
        </p:spPr>
      </p:pic>
      <p:sp>
        <p:nvSpPr>
          <p:cNvPr id="4" name="Ellipse 3">
            <a:extLst>
              <a:ext uri="{FF2B5EF4-FFF2-40B4-BE49-F238E27FC236}">
                <a16:creationId xmlns:a16="http://schemas.microsoft.com/office/drawing/2014/main" id="{8AB3FB23-EAB2-9524-9FFA-CE3F70AA6468}"/>
              </a:ext>
            </a:extLst>
          </p:cNvPr>
          <p:cNvSpPr/>
          <p:nvPr/>
        </p:nvSpPr>
        <p:spPr>
          <a:xfrm>
            <a:off x="3059832" y="3892895"/>
            <a:ext cx="288032" cy="288032"/>
          </a:xfrm>
          <a:prstGeom prst="ellipse">
            <a:avLst/>
          </a:prstGeom>
          <a:solidFill>
            <a:srgbClr val="BBD1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A852FF87-D0F3-FEF2-F8EB-11C8CC72D221}"/>
              </a:ext>
            </a:extLst>
          </p:cNvPr>
          <p:cNvSpPr/>
          <p:nvPr/>
        </p:nvSpPr>
        <p:spPr>
          <a:xfrm>
            <a:off x="3779912" y="3892895"/>
            <a:ext cx="288032" cy="288032"/>
          </a:xfrm>
          <a:prstGeom prst="ellipse">
            <a:avLst/>
          </a:prstGeom>
          <a:solidFill>
            <a:srgbClr val="BBD1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91C24643-5C68-4F56-5D54-C252F1BEFC01}"/>
              </a:ext>
            </a:extLst>
          </p:cNvPr>
          <p:cNvSpPr/>
          <p:nvPr/>
        </p:nvSpPr>
        <p:spPr>
          <a:xfrm>
            <a:off x="3059832" y="4307455"/>
            <a:ext cx="288032" cy="288032"/>
          </a:xfrm>
          <a:prstGeom prst="ellipse">
            <a:avLst/>
          </a:prstGeom>
          <a:solidFill>
            <a:srgbClr val="BBD1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9FFCA693-4178-9CB7-A554-A1E459D534AA}"/>
              </a:ext>
            </a:extLst>
          </p:cNvPr>
          <p:cNvSpPr/>
          <p:nvPr/>
        </p:nvSpPr>
        <p:spPr>
          <a:xfrm>
            <a:off x="3779912" y="4307455"/>
            <a:ext cx="288032" cy="288032"/>
          </a:xfrm>
          <a:prstGeom prst="ellipse">
            <a:avLst/>
          </a:prstGeom>
          <a:solidFill>
            <a:srgbClr val="BBD1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93C22D53-661A-796F-154E-ACEC33304A37}"/>
              </a:ext>
            </a:extLst>
          </p:cNvPr>
          <p:cNvSpPr/>
          <p:nvPr/>
        </p:nvSpPr>
        <p:spPr>
          <a:xfrm>
            <a:off x="5476781" y="3892895"/>
            <a:ext cx="288032" cy="288032"/>
          </a:xfrm>
          <a:prstGeom prst="ellipse">
            <a:avLst/>
          </a:prstGeom>
          <a:solidFill>
            <a:srgbClr val="BBD1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DF70CF65-C5EA-71E5-E46D-A3913D90D452}"/>
              </a:ext>
            </a:extLst>
          </p:cNvPr>
          <p:cNvSpPr/>
          <p:nvPr/>
        </p:nvSpPr>
        <p:spPr>
          <a:xfrm>
            <a:off x="5066524" y="4307455"/>
            <a:ext cx="288032" cy="288032"/>
          </a:xfrm>
          <a:prstGeom prst="ellipse">
            <a:avLst/>
          </a:prstGeom>
          <a:solidFill>
            <a:srgbClr val="BBD1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A6B4C50C-2841-AFD6-854C-FB91D9F22A64}"/>
              </a:ext>
            </a:extLst>
          </p:cNvPr>
          <p:cNvSpPr/>
          <p:nvPr/>
        </p:nvSpPr>
        <p:spPr>
          <a:xfrm>
            <a:off x="5786604" y="4307455"/>
            <a:ext cx="288032" cy="288032"/>
          </a:xfrm>
          <a:prstGeom prst="ellipse">
            <a:avLst/>
          </a:prstGeom>
          <a:solidFill>
            <a:srgbClr val="BBD1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87F9E861-F331-5B8D-DD16-7EAFE899396E}"/>
              </a:ext>
            </a:extLst>
          </p:cNvPr>
          <p:cNvSpPr/>
          <p:nvPr/>
        </p:nvSpPr>
        <p:spPr>
          <a:xfrm>
            <a:off x="6984690" y="3892895"/>
            <a:ext cx="288032" cy="288032"/>
          </a:xfrm>
          <a:prstGeom prst="ellipse">
            <a:avLst/>
          </a:prstGeom>
          <a:solidFill>
            <a:srgbClr val="BBD1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0A9DAF2C-5648-6F20-25A4-A7D98A32A5AC}"/>
              </a:ext>
            </a:extLst>
          </p:cNvPr>
          <p:cNvSpPr/>
          <p:nvPr/>
        </p:nvSpPr>
        <p:spPr>
          <a:xfrm>
            <a:off x="8007118" y="3892895"/>
            <a:ext cx="288032" cy="288032"/>
          </a:xfrm>
          <a:prstGeom prst="ellipse">
            <a:avLst/>
          </a:prstGeom>
          <a:solidFill>
            <a:srgbClr val="BBD1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AF13041D-C0C4-6034-4391-E5968F49312E}"/>
              </a:ext>
            </a:extLst>
          </p:cNvPr>
          <p:cNvSpPr/>
          <p:nvPr/>
        </p:nvSpPr>
        <p:spPr>
          <a:xfrm>
            <a:off x="6984690" y="4451471"/>
            <a:ext cx="288032" cy="288032"/>
          </a:xfrm>
          <a:prstGeom prst="ellipse">
            <a:avLst/>
          </a:prstGeom>
          <a:solidFill>
            <a:srgbClr val="BBD1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D791CB60-3943-DE8E-B9AC-3F71FA6B903D}"/>
              </a:ext>
            </a:extLst>
          </p:cNvPr>
          <p:cNvSpPr/>
          <p:nvPr/>
        </p:nvSpPr>
        <p:spPr>
          <a:xfrm>
            <a:off x="7997061" y="4451471"/>
            <a:ext cx="288032" cy="288032"/>
          </a:xfrm>
          <a:prstGeom prst="ellipse">
            <a:avLst/>
          </a:prstGeom>
          <a:solidFill>
            <a:srgbClr val="BBD1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A34D29E4-275B-0A14-F561-51B72928D6FF}"/>
              </a:ext>
            </a:extLst>
          </p:cNvPr>
          <p:cNvSpPr/>
          <p:nvPr/>
        </p:nvSpPr>
        <p:spPr>
          <a:xfrm>
            <a:off x="7475217" y="4193369"/>
            <a:ext cx="288032" cy="288032"/>
          </a:xfrm>
          <a:prstGeom prst="ellipse">
            <a:avLst/>
          </a:prstGeom>
          <a:solidFill>
            <a:srgbClr val="BBD16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436049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endParaRPr lang="fr-MA" sz="900">
              <a:latin typeface="Dosis" pitchFamily="2" charset="0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574801" y="2717800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rtl="1">
              <a:lnSpc>
                <a:spcPts val="5486"/>
              </a:lnSpc>
            </a:pPr>
            <a:r>
              <a:rPr lang="ar-MA" sz="4400" b="1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. اختتام الحصة</a:t>
            </a:r>
            <a:endParaRPr lang="ar-MA" sz="1600" b="1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936015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23EF71-714F-A0B5-E916-E924540BD2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4">
            <a:extLst>
              <a:ext uri="{FF2B5EF4-FFF2-40B4-BE49-F238E27FC236}">
                <a16:creationId xmlns:a16="http://schemas.microsoft.com/office/drawing/2014/main" id="{B1FD324B-2FA8-B5A1-4D60-50F18059E1A4}"/>
              </a:ext>
            </a:extLst>
          </p:cNvPr>
          <p:cNvSpPr txBox="1"/>
          <p:nvPr/>
        </p:nvSpPr>
        <p:spPr>
          <a:xfrm>
            <a:off x="386095" y="563238"/>
            <a:ext cx="8092279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الذي تعلمناه اليوم؟ من يذكرنا بالخطوات التي اتبعناها؟</a:t>
            </a:r>
          </a:p>
        </p:txBody>
      </p:sp>
      <p:graphicFrame>
        <p:nvGraphicFramePr>
          <p:cNvPr id="9" name="Table 15">
            <a:extLst>
              <a:ext uri="{FF2B5EF4-FFF2-40B4-BE49-F238E27FC236}">
                <a16:creationId xmlns:a16="http://schemas.microsoft.com/office/drawing/2014/main" id="{ECA6A1FC-8CDD-44EE-E58A-8C6A511CE0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600933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4DA5743E-682B-CC97-BEC4-06994C8C89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6000" y="1989000"/>
            <a:ext cx="4032000" cy="28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923162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4D9FBC4-7A35-4107-DD93-5DD8FED9D6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15">
            <a:extLst>
              <a:ext uri="{FF2B5EF4-FFF2-40B4-BE49-F238E27FC236}">
                <a16:creationId xmlns:a16="http://schemas.microsoft.com/office/drawing/2014/main" id="{DDDBEF2D-B5D8-EABB-DE5B-A248136118D3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2" name="Picture 9">
            <a:extLst>
              <a:ext uri="{FF2B5EF4-FFF2-40B4-BE49-F238E27FC236}">
                <a16:creationId xmlns:a16="http://schemas.microsoft.com/office/drawing/2014/main" id="{C94827C3-2196-10E3-BA9C-D08BAEE2E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7794" y="1439035"/>
            <a:ext cx="3512638" cy="48702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66038B6C-AD40-09D6-B303-B619550392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0" b="1590"/>
          <a:stretch/>
        </p:blipFill>
        <p:spPr>
          <a:xfrm>
            <a:off x="755576" y="1439036"/>
            <a:ext cx="3626473" cy="48702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ZoneTexte 4">
            <a:extLst>
              <a:ext uri="{FF2B5EF4-FFF2-40B4-BE49-F238E27FC236}">
                <a16:creationId xmlns:a16="http://schemas.microsoft.com/office/drawing/2014/main" id="{2847F445-0034-73EA-7EC6-54999794235D}"/>
              </a:ext>
            </a:extLst>
          </p:cNvPr>
          <p:cNvSpPr txBox="1"/>
          <p:nvPr/>
        </p:nvSpPr>
        <p:spPr>
          <a:xfrm>
            <a:off x="474691" y="572745"/>
            <a:ext cx="7985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 جيدا</a:t>
            </a:r>
            <a:r>
              <a:rPr lang="fr-FR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 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في المنزل، ستنجزون كل الأنشطة المتبقية على الصفحتين: 8 و9.</a:t>
            </a:r>
            <a:endParaRPr lang="fr-MA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465306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776FFED-540A-74E8-CC1A-522314CB3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15">
            <a:extLst>
              <a:ext uri="{FF2B5EF4-FFF2-40B4-BE49-F238E27FC236}">
                <a16:creationId xmlns:a16="http://schemas.microsoft.com/office/drawing/2014/main" id="{761AF818-5860-0D0E-6F5F-862907C07B65}"/>
              </a:ext>
            </a:extLst>
          </p:cNvPr>
          <p:cNvGraphicFramePr>
            <a:graphicFrameLocks noGrp="1"/>
          </p:cNvGraphicFramePr>
          <p:nvPr/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. أنشطة تمهيدي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. افتتاح 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sp>
        <p:nvSpPr>
          <p:cNvPr id="5" name="ZoneTexte 4">
            <a:extLst>
              <a:ext uri="{FF2B5EF4-FFF2-40B4-BE49-F238E27FC236}">
                <a16:creationId xmlns:a16="http://schemas.microsoft.com/office/drawing/2014/main" id="{B7A082CD-4722-124F-25AE-26949F09544D}"/>
              </a:ext>
            </a:extLst>
          </p:cNvPr>
          <p:cNvSpPr txBox="1"/>
          <p:nvPr/>
        </p:nvSpPr>
        <p:spPr>
          <a:xfrm>
            <a:off x="304798" y="560851"/>
            <a:ext cx="8249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إلى اللقاء في الحصة القادمة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F57BD76-24C5-1059-AD44-83C35D96CB5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2132856"/>
            <a:ext cx="3348436" cy="309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612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14DD368-2419-FC6F-D94F-710BC27180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301;p10" descr="jeu de numéros de dessin animé coloré. numéros d'enfants drôles isolés sur  fond blanc. ensemble vectoriel d'icônes de bébé de 1 à 9 chiffres. symboles  mathématiques de l'école. 9361793 Art vectoriel chez">
            <a:extLst>
              <a:ext uri="{FF2B5EF4-FFF2-40B4-BE49-F238E27FC236}">
                <a16:creationId xmlns:a16="http://schemas.microsoft.com/office/drawing/2014/main" id="{5B7FC4C7-F548-2416-4418-9990A8904687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16000" y="2006600"/>
            <a:ext cx="6954093" cy="305368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302;p10">
            <a:extLst>
              <a:ext uri="{FF2B5EF4-FFF2-40B4-BE49-F238E27FC236}">
                <a16:creationId xmlns:a16="http://schemas.microsoft.com/office/drawing/2014/main" id="{9C4795CB-F1E6-C22A-3969-474E486885C5}"/>
              </a:ext>
            </a:extLst>
          </p:cNvPr>
          <p:cNvSpPr txBox="1"/>
          <p:nvPr/>
        </p:nvSpPr>
        <p:spPr>
          <a:xfrm>
            <a:off x="1016000" y="459874"/>
            <a:ext cx="7462091" cy="636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سأقرأ الأرقام، أنصتوا جيدا </a:t>
            </a:r>
            <a:endParaRPr dirty="0"/>
          </a:p>
          <a:p>
            <a:pPr algn="r" rtl="1"/>
            <a:r>
              <a:rPr lang="ar-MA" i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يقرأ المدرس الأرقام بإنشاد وإيقاع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" name="Table 15">
            <a:extLst>
              <a:ext uri="{FF2B5EF4-FFF2-40B4-BE49-F238E27FC236}">
                <a16:creationId xmlns:a16="http://schemas.microsoft.com/office/drawing/2014/main" id="{83882826-A70E-463A-ADA1-5AFD646990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6562603"/>
              </p:ext>
            </p:extLst>
          </p:nvPr>
        </p:nvGraphicFramePr>
        <p:xfrm>
          <a:off x="179512" y="0"/>
          <a:ext cx="8784977" cy="35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70">
                  <a:extLst>
                    <a:ext uri="{9D8B030D-6E8A-4147-A177-3AD203B41FA5}">
                      <a16:colId xmlns:a16="http://schemas.microsoft.com/office/drawing/2014/main" val="496570945"/>
                    </a:ext>
                  </a:extLst>
                </a:gridCol>
                <a:gridCol w="1908822">
                  <a:extLst>
                    <a:ext uri="{9D8B030D-6E8A-4147-A177-3AD203B41FA5}">
                      <a16:colId xmlns:a16="http://schemas.microsoft.com/office/drawing/2014/main" val="3320981739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283821037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2291180370"/>
                    </a:ext>
                  </a:extLst>
                </a:gridCol>
                <a:gridCol w="1756995">
                  <a:extLst>
                    <a:ext uri="{9D8B030D-6E8A-4147-A177-3AD203B41FA5}">
                      <a16:colId xmlns:a16="http://schemas.microsoft.com/office/drawing/2014/main" val="3864908617"/>
                    </a:ext>
                  </a:extLst>
                </a:gridCol>
              </a:tblGrid>
              <a:tr h="358816"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5. اختتام الحصة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4.أنشطة التدرب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3. النشاط الرئيسي</a:t>
                      </a:r>
                      <a:endParaRPr lang="fr-FR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2</a:t>
                      </a:r>
                      <a:r>
                        <a:rPr lang="ar-MA" sz="1200" b="0" dirty="0">
                          <a:solidFill>
                            <a:schemeClr val="bg1"/>
                          </a:solidFill>
                        </a:rPr>
                        <a:t>. </a:t>
                      </a:r>
                      <a:r>
                        <a:rPr lang="ar-MA" sz="12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أنشطة تمهيدية</a:t>
                      </a:r>
                      <a:endParaRPr lang="fr-FR" sz="12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MA" sz="12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. افتتاح  الحصة</a:t>
                      </a:r>
                      <a:endParaRPr lang="fr-FR" sz="12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65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1216"/>
                  </a:ext>
                </a:extLst>
              </a:tr>
            </a:tbl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4278363B-E876-9D02-B946-E0D042AD100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59874"/>
            <a:ext cx="1047709" cy="104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075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heme/theme1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3</TotalTime>
  <Words>2396</Words>
  <Application>Microsoft Office PowerPoint</Application>
  <PresentationFormat>Affichage à l'écran (4:3)</PresentationFormat>
  <Paragraphs>540</Paragraphs>
  <Slides>88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8</vt:i4>
      </vt:variant>
    </vt:vector>
  </HeadingPairs>
  <TitlesOfParts>
    <vt:vector size="96" baseType="lpstr">
      <vt:lpstr>Aptos</vt:lpstr>
      <vt:lpstr>Arial</vt:lpstr>
      <vt:lpstr>Calibri</vt:lpstr>
      <vt:lpstr>Calibri Light</vt:lpstr>
      <vt:lpstr>Cambria</vt:lpstr>
      <vt:lpstr>Dosis</vt:lpstr>
      <vt:lpstr>Office 2013 - 2022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youssef saadani</dc:creator>
  <cp:lastModifiedBy>EL HAMDOUNI BTIHAJ</cp:lastModifiedBy>
  <cp:revision>3</cp:revision>
  <dcterms:created xsi:type="dcterms:W3CDTF">2024-11-06T21:41:27Z</dcterms:created>
  <dcterms:modified xsi:type="dcterms:W3CDTF">2024-11-09T03:46:29Z</dcterms:modified>
</cp:coreProperties>
</file>